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7151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2D"/>
    <a:srgbClr val="2622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1" d="100"/>
          <a:sy n="91" d="100"/>
        </p:scale>
        <p:origin x="21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image" Target="../media/image5.png"/><Relationship Id="rId5" Type="http://schemas.openxmlformats.org/officeDocument/2006/relationships/tags" Target="../tags/tag24.xml"/><Relationship Id="rId10" Type="http://schemas.openxmlformats.org/officeDocument/2006/relationships/image" Target="../media/image3.emf"/><Relationship Id="rId4" Type="http://schemas.openxmlformats.org/officeDocument/2006/relationships/tags" Target="../tags/tag23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2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6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2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9.xml"/><Relationship Id="rId7" Type="http://schemas.openxmlformats.org/officeDocument/2006/relationships/oleObject" Target="../embeddings/oleObject13.bin"/><Relationship Id="rId2" Type="http://schemas.openxmlformats.org/officeDocument/2006/relationships/tags" Target="../tags/tag98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9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7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image" Target="../media/image2.png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image" Target="../media/image1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6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1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4.xml"/><Relationship Id="rId9" Type="http://schemas.openxmlformats.org/officeDocument/2006/relationships/tags" Target="../tags/tag11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4.xml"/><Relationship Id="rId11" Type="http://schemas.openxmlformats.org/officeDocument/2006/relationships/image" Target="../media/image1.emf"/><Relationship Id="rId5" Type="http://schemas.openxmlformats.org/officeDocument/2006/relationships/tags" Target="../tags/tag123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image" Target="../media/image1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18" Type="http://schemas.openxmlformats.org/officeDocument/2006/relationships/image" Target="../media/image19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12" Type="http://schemas.openxmlformats.org/officeDocument/2006/relationships/image" Target="../media/image14.svg"/><Relationship Id="rId17" Type="http://schemas.openxmlformats.org/officeDocument/2006/relationships/image" Target="../media/image18.png"/><Relationship Id="rId2" Type="http://schemas.openxmlformats.org/officeDocument/2006/relationships/image" Target="../media/image8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3.png"/><Relationship Id="rId5" Type="http://schemas.microsoft.com/office/2007/relationships/hdphoto" Target="../media/hdphoto2.wdp"/><Relationship Id="rId15" Type="http://schemas.microsoft.com/office/2007/relationships/hdphoto" Target="../media/hdphoto5.wdp"/><Relationship Id="rId10" Type="http://schemas.openxmlformats.org/officeDocument/2006/relationships/image" Target="../media/image12.png"/><Relationship Id="rId19" Type="http://schemas.openxmlformats.org/officeDocument/2006/relationships/image" Target="../media/image20.jpeg"/><Relationship Id="rId4" Type="http://schemas.openxmlformats.org/officeDocument/2006/relationships/image" Target="../media/image9.png"/><Relationship Id="rId9" Type="http://schemas.microsoft.com/office/2007/relationships/hdphoto" Target="../media/hdphoto4.wdp"/><Relationship Id="rId14" Type="http://schemas.openxmlformats.org/officeDocument/2006/relationships/image" Target="../media/image1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3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10" Type="http://schemas.openxmlformats.org/officeDocument/2006/relationships/image" Target="../media/image21.jpeg"/><Relationship Id="rId4" Type="http://schemas.openxmlformats.org/officeDocument/2006/relationships/tags" Target="../tags/tag134.xml"/><Relationship Id="rId9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1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3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1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3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3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image" Target="../media/image3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2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2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2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ity&#10;&#10;Description automatically generated">
            <a:extLst>
              <a:ext uri="{FF2B5EF4-FFF2-40B4-BE49-F238E27FC236}">
                <a16:creationId xmlns:a16="http://schemas.microsoft.com/office/drawing/2014/main" id="{EA44E12B-EAF9-42D9-907F-E2900B74F5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572" y="3176"/>
            <a:ext cx="11525428" cy="6857289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38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481F8346-A606-4C61-8F7C-1EDB260332E0}"/>
              </a:ext>
            </a:extLst>
          </p:cNvPr>
          <p:cNvSpPr/>
          <p:nvPr userDrawn="1"/>
        </p:nvSpPr>
        <p:spPr bwMode="ltGray">
          <a:xfrm>
            <a:off x="0" y="0"/>
            <a:ext cx="8638223" cy="6858000"/>
          </a:xfrm>
          <a:custGeom>
            <a:avLst/>
            <a:gdLst/>
            <a:ahLst/>
            <a:cxnLst/>
            <a:rect l="l" t="t" r="r" b="b"/>
            <a:pathLst>
              <a:path w="11517630" h="9144000">
                <a:moveTo>
                  <a:pt x="9892926" y="0"/>
                </a:moveTo>
                <a:lnTo>
                  <a:pt x="1805039" y="0"/>
                </a:lnTo>
                <a:lnTo>
                  <a:pt x="0" y="3575"/>
                </a:lnTo>
                <a:lnTo>
                  <a:pt x="0" y="2013061"/>
                </a:lnTo>
                <a:lnTo>
                  <a:pt x="928" y="2246592"/>
                </a:lnTo>
                <a:lnTo>
                  <a:pt x="14277" y="5348659"/>
                </a:lnTo>
                <a:lnTo>
                  <a:pt x="17104" y="6110531"/>
                </a:lnTo>
                <a:lnTo>
                  <a:pt x="18863" y="6669078"/>
                </a:lnTo>
                <a:lnTo>
                  <a:pt x="20055" y="7125990"/>
                </a:lnTo>
                <a:lnTo>
                  <a:pt x="20896" y="7532084"/>
                </a:lnTo>
                <a:lnTo>
                  <a:pt x="21443" y="7887386"/>
                </a:lnTo>
                <a:lnTo>
                  <a:pt x="21797" y="8242666"/>
                </a:lnTo>
                <a:lnTo>
                  <a:pt x="21906" y="8851684"/>
                </a:lnTo>
                <a:lnTo>
                  <a:pt x="21715" y="9144000"/>
                </a:lnTo>
                <a:lnTo>
                  <a:pt x="9912903" y="9144000"/>
                </a:lnTo>
                <a:lnTo>
                  <a:pt x="11517630" y="4586052"/>
                </a:lnTo>
                <a:lnTo>
                  <a:pt x="98929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1" y="4677075"/>
            <a:ext cx="720352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170405"/>
            <a:ext cx="720352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617296"/>
            <a:ext cx="720352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DC7A0D-B629-46D7-AF08-7982718C1E9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1" y="548577"/>
            <a:ext cx="2402926" cy="576327"/>
          </a:xfrm>
          <a:prstGeom prst="rect">
            <a:avLst/>
          </a:prstGeom>
        </p:spPr>
      </p:pic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5A723EB9-3F47-482D-A461-32793B3E26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340" y="6446579"/>
            <a:ext cx="4040209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r>
              <a:rPr lang="en-US"/>
              <a:t>February 2020 | HEINEKEN N.V. | HEINEKEN Holding N.V.</a:t>
            </a:r>
          </a:p>
        </p:txBody>
      </p:sp>
    </p:spTree>
    <p:extLst>
      <p:ext uri="{BB962C8B-B14F-4D97-AF65-F5344CB8AC3E}">
        <p14:creationId xmlns:p14="http://schemas.microsoft.com/office/powerpoint/2010/main" val="2777085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416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54810"/>
            <a:ext cx="69677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4E4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51988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A59E8B-CBCC-47BE-B5FF-AB919DE9BB6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394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964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4E4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654810"/>
            <a:ext cx="7918704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51988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61C581-B3D6-4FBE-A901-2C4DAB91979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4825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710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7BC5CF-589F-4A4B-AF68-E09DD56627D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759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477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EB07CB-2BDE-49DA-BF17-5EFC17E25CA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472168" y="3039533"/>
            <a:ext cx="3247664" cy="778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626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5EC5A1-B3E6-45C1-A593-CE283E55BA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1068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>
                <a:latin typeface="+mj-lt"/>
                <a:ea typeface="+mj-ea"/>
                <a:cs typeface="+mj-cs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Calibri" panose="020F0502020204030204" pitchFamily="34" charset="0"/>
              </a:defRPr>
            </a:lvl1pPr>
            <a:lvl2pPr>
              <a:defRPr>
                <a:latin typeface="+mn-lt"/>
                <a:sym typeface="Calibri" panose="020F0502020204030204" pitchFamily="34" charset="0"/>
              </a:defRPr>
            </a:lvl2pPr>
            <a:lvl3pPr>
              <a:defRPr>
                <a:latin typeface="+mn-lt"/>
                <a:sym typeface="Calibri" panose="020F0502020204030204" pitchFamily="34" charset="0"/>
              </a:defRPr>
            </a:lvl3pPr>
            <a:lvl4pPr>
              <a:defRPr>
                <a:latin typeface="+mn-lt"/>
                <a:sym typeface="Calibri" panose="020F0502020204030204" pitchFamily="34" charset="0"/>
              </a:defRPr>
            </a:lvl4pPr>
            <a:lvl5pPr>
              <a:defRPr>
                <a:latin typeface="+mn-lt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7B66D5C-C3D5-4E10-AC38-85DEAA8A24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70212" y="6405624"/>
            <a:ext cx="537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E41CCD-FD3E-45A2-B83B-3233A201FCD4}" type="slidenum">
              <a:rPr lang="en-UK" smtClean="0"/>
              <a:t>‹#›</a:t>
            </a:fld>
            <a:endParaRPr lang="en-U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B0B876-6C19-47AD-ABA2-71EAAB0DAE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4488" y="6405563"/>
            <a:ext cx="9324975" cy="365125"/>
          </a:xfrm>
        </p:spPr>
        <p:txBody>
          <a:bodyPr/>
          <a:lstStyle>
            <a:lvl1pPr marL="0" indent="0">
              <a:buNone/>
              <a:defRPr sz="1000">
                <a:latin typeface="HEINEKEN Core" panose="02000503050000020004" pitchFamily="2" charset="0"/>
              </a:defRPr>
            </a:lvl1pPr>
            <a:lvl2pPr>
              <a:defRPr sz="1000">
                <a:latin typeface="HEINEKEN Core" panose="02000503050000020004" pitchFamily="2" charset="0"/>
              </a:defRPr>
            </a:lvl2pPr>
            <a:lvl3pPr>
              <a:defRPr sz="1000">
                <a:latin typeface="HEINEKEN Core" panose="02000503050000020004" pitchFamily="2" charset="0"/>
              </a:defRPr>
            </a:lvl3pPr>
            <a:lvl4pPr>
              <a:defRPr sz="1000">
                <a:latin typeface="HEINEKEN Core" panose="02000503050000020004" pitchFamily="2" charset="0"/>
              </a:defRPr>
            </a:lvl4pPr>
            <a:lvl5pPr>
              <a:defRPr sz="1000">
                <a:latin typeface="HEINEKEN Core" panose="0200050305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917689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2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97006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latin typeface="HEINEKEN Core" panose="02000503050000020004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829435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3EF6B1B-AD02-F84A-9F1F-F73F730C23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C59E47B-4CEF-3642-841F-41E12FDFA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0" dist="127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8094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4E4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noProof="0">
              <a:solidFill>
                <a:srgbClr val="F0F0F0"/>
              </a:solidFill>
              <a:latin typeface="HEINEKEN Core" panose="02000503050000020004" pitchFamily="2" charset="0"/>
              <a:sym typeface="HEINEKEN Core" panose="02000503050000020004" pitchFamily="2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INEKEN Core" panose="02000503050000020004" pitchFamily="2" charset="0"/>
                <a:ea typeface="+mn-ea"/>
                <a:cs typeface="Arial" panose="020B0604020202020204" pitchFamily="34" charset="0"/>
                <a:sym typeface="HEINEKEN Core" panose="02000503050000020004" pitchFamily="2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Arial" panose="020B0604020202020204" pitchFamily="34" charset="0"/>
              <a:sym typeface="HEINEKEN Core" panose="02000503050000020004" pitchFamily="2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654810"/>
            <a:ext cx="7918704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dirty="0">
                <a:latin typeface="HEINEKEN Core" panose="02000503050000020004" pitchFamily="2" charset="0"/>
                <a:sym typeface="HEINEKEN Core" panose="02000503050000020004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51988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HEINEKEN Core" panose="02000503050000020004" pitchFamily="2" charset="0"/>
                <a:sym typeface="HEINEKEN Core" panose="0200050305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noProof="0">
                <a:latin typeface="HEINEKEN Core" panose="02000503050000020004" pitchFamily="2" charset="0"/>
                <a:sym typeface="HEINEKEN Core" panose="02000503050000020004" pitchFamily="2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HEINEKEN Core" panose="02000503050000020004" pitchFamily="2" charset="0"/>
                <a:cs typeface="+mn-cs"/>
                <a:sym typeface="HEINEKEN Core" panose="02000503050000020004" pitchFamily="2" charset="0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61C581-B3D6-4FBE-A901-2C4DAB91979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7371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7154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54810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5198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79343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1082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54810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5198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807644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894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D1A10-9E16-4F84-BB80-393D47D5379F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970EB8-95DF-4C60-9D76-42F211826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08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ront cov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Placeholder 1">
            <a:extLst>
              <a:ext uri="{FF2B5EF4-FFF2-40B4-BE49-F238E27FC236}">
                <a16:creationId xmlns:a16="http://schemas.microsoft.com/office/drawing/2014/main" id="{5B5A4C36-AF4E-4D2E-A970-89BE65F04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686" y="4949367"/>
            <a:ext cx="10336208" cy="62433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D02D6D05-C554-4F91-953A-C0CD676B0D4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8685" y="5788245"/>
            <a:ext cx="7605712" cy="341094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algn="l" defTabSz="80053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67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19" name="Group 60">
            <a:extLst>
              <a:ext uri="{FF2B5EF4-FFF2-40B4-BE49-F238E27FC236}">
                <a16:creationId xmlns:a16="http://schemas.microsoft.com/office/drawing/2014/main" id="{87ECD038-8C5C-4D88-BB04-702BE79568B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432063" y="6351370"/>
            <a:ext cx="1064605" cy="245462"/>
            <a:chOff x="3879" y="1061"/>
            <a:chExt cx="2650" cy="611"/>
          </a:xfrm>
        </p:grpSpPr>
        <p:sp>
          <p:nvSpPr>
            <p:cNvPr id="120" name="Freeform 61">
              <a:extLst>
                <a:ext uri="{FF2B5EF4-FFF2-40B4-BE49-F238E27FC236}">
                  <a16:creationId xmlns:a16="http://schemas.microsoft.com/office/drawing/2014/main" id="{D54002E1-D3F4-4E4C-A204-44AE83299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" y="1338"/>
              <a:ext cx="263" cy="334"/>
            </a:xfrm>
            <a:custGeom>
              <a:avLst/>
              <a:gdLst>
                <a:gd name="T0" fmla="*/ 0 w 273"/>
                <a:gd name="T1" fmla="*/ 10 h 346"/>
                <a:gd name="T2" fmla="*/ 0 w 273"/>
                <a:gd name="T3" fmla="*/ 346 h 346"/>
                <a:gd name="T4" fmla="*/ 72 w 273"/>
                <a:gd name="T5" fmla="*/ 346 h 346"/>
                <a:gd name="T6" fmla="*/ 72 w 273"/>
                <a:gd name="T7" fmla="*/ 160 h 346"/>
                <a:gd name="T8" fmla="*/ 198 w 273"/>
                <a:gd name="T9" fmla="*/ 346 h 346"/>
                <a:gd name="T10" fmla="*/ 255 w 273"/>
                <a:gd name="T11" fmla="*/ 346 h 346"/>
                <a:gd name="T12" fmla="*/ 273 w 273"/>
                <a:gd name="T13" fmla="*/ 316 h 346"/>
                <a:gd name="T14" fmla="*/ 273 w 273"/>
                <a:gd name="T15" fmla="*/ 0 h 346"/>
                <a:gd name="T16" fmla="*/ 198 w 273"/>
                <a:gd name="T17" fmla="*/ 0 h 346"/>
                <a:gd name="T18" fmla="*/ 201 w 273"/>
                <a:gd name="T19" fmla="*/ 181 h 346"/>
                <a:gd name="T20" fmla="*/ 183 w 273"/>
                <a:gd name="T21" fmla="*/ 160 h 346"/>
                <a:gd name="T22" fmla="*/ 134 w 273"/>
                <a:gd name="T23" fmla="*/ 83 h 346"/>
                <a:gd name="T24" fmla="*/ 9 w 273"/>
                <a:gd name="T25" fmla="*/ 1 h 346"/>
                <a:gd name="T26" fmla="*/ 0 w 273"/>
                <a:gd name="T27" fmla="*/ 1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3" h="346">
                  <a:moveTo>
                    <a:pt x="0" y="1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72" y="346"/>
                    <a:pt x="72" y="346"/>
                    <a:pt x="72" y="346"/>
                  </a:cubicBezTo>
                  <a:cubicBezTo>
                    <a:pt x="72" y="160"/>
                    <a:pt x="72" y="160"/>
                    <a:pt x="72" y="160"/>
                  </a:cubicBezTo>
                  <a:cubicBezTo>
                    <a:pt x="87" y="171"/>
                    <a:pt x="181" y="339"/>
                    <a:pt x="198" y="346"/>
                  </a:cubicBezTo>
                  <a:cubicBezTo>
                    <a:pt x="255" y="346"/>
                    <a:pt x="255" y="346"/>
                    <a:pt x="255" y="346"/>
                  </a:cubicBezTo>
                  <a:cubicBezTo>
                    <a:pt x="268" y="344"/>
                    <a:pt x="273" y="333"/>
                    <a:pt x="273" y="316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39"/>
                    <a:pt x="195" y="148"/>
                    <a:pt x="201" y="181"/>
                  </a:cubicBezTo>
                  <a:cubicBezTo>
                    <a:pt x="193" y="178"/>
                    <a:pt x="196" y="181"/>
                    <a:pt x="183" y="160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87" y="9"/>
                    <a:pt x="93" y="1"/>
                    <a:pt x="9" y="1"/>
                  </a:cubicBezTo>
                  <a:cubicBezTo>
                    <a:pt x="2" y="1"/>
                    <a:pt x="0" y="3"/>
                    <a:pt x="0" y="10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62">
              <a:extLst>
                <a:ext uri="{FF2B5EF4-FFF2-40B4-BE49-F238E27FC236}">
                  <a16:creationId xmlns:a16="http://schemas.microsoft.com/office/drawing/2014/main" id="{377DF06F-E9B5-4FE9-8880-06AC527DE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6" y="1338"/>
              <a:ext cx="273" cy="333"/>
            </a:xfrm>
            <a:custGeom>
              <a:avLst/>
              <a:gdLst>
                <a:gd name="T0" fmla="*/ 0 w 284"/>
                <a:gd name="T1" fmla="*/ 345 h 345"/>
                <a:gd name="T2" fmla="*/ 71 w 284"/>
                <a:gd name="T3" fmla="*/ 345 h 345"/>
                <a:gd name="T4" fmla="*/ 69 w 284"/>
                <a:gd name="T5" fmla="*/ 159 h 345"/>
                <a:gd name="T6" fmla="*/ 198 w 284"/>
                <a:gd name="T7" fmla="*/ 345 h 345"/>
                <a:gd name="T8" fmla="*/ 251 w 284"/>
                <a:gd name="T9" fmla="*/ 345 h 345"/>
                <a:gd name="T10" fmla="*/ 270 w 284"/>
                <a:gd name="T11" fmla="*/ 318 h 345"/>
                <a:gd name="T12" fmla="*/ 269 w 284"/>
                <a:gd name="T13" fmla="*/ 29 h 345"/>
                <a:gd name="T14" fmla="*/ 283 w 284"/>
                <a:gd name="T15" fmla="*/ 15 h 345"/>
                <a:gd name="T16" fmla="*/ 284 w 284"/>
                <a:gd name="T17" fmla="*/ 0 h 345"/>
                <a:gd name="T18" fmla="*/ 198 w 284"/>
                <a:gd name="T19" fmla="*/ 0 h 345"/>
                <a:gd name="T20" fmla="*/ 198 w 284"/>
                <a:gd name="T21" fmla="*/ 180 h 345"/>
                <a:gd name="T22" fmla="*/ 100 w 284"/>
                <a:gd name="T23" fmla="*/ 32 h 345"/>
                <a:gd name="T24" fmla="*/ 48 w 284"/>
                <a:gd name="T25" fmla="*/ 0 h 345"/>
                <a:gd name="T26" fmla="*/ 0 w 284"/>
                <a:gd name="T27" fmla="*/ 0 h 345"/>
                <a:gd name="T28" fmla="*/ 0 w 284"/>
                <a:gd name="T29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345">
                  <a:moveTo>
                    <a:pt x="0" y="345"/>
                  </a:moveTo>
                  <a:cubicBezTo>
                    <a:pt x="71" y="345"/>
                    <a:pt x="71" y="345"/>
                    <a:pt x="71" y="345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86" y="170"/>
                    <a:pt x="148" y="291"/>
                    <a:pt x="198" y="345"/>
                  </a:cubicBezTo>
                  <a:cubicBezTo>
                    <a:pt x="251" y="345"/>
                    <a:pt x="251" y="345"/>
                    <a:pt x="251" y="345"/>
                  </a:cubicBezTo>
                  <a:cubicBezTo>
                    <a:pt x="265" y="343"/>
                    <a:pt x="270" y="337"/>
                    <a:pt x="270" y="318"/>
                  </a:cubicBezTo>
                  <a:cubicBezTo>
                    <a:pt x="271" y="278"/>
                    <a:pt x="264" y="42"/>
                    <a:pt x="269" y="29"/>
                  </a:cubicBezTo>
                  <a:cubicBezTo>
                    <a:pt x="273" y="18"/>
                    <a:pt x="280" y="16"/>
                    <a:pt x="283" y="15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180"/>
                    <a:pt x="198" y="180"/>
                    <a:pt x="198" y="180"/>
                  </a:cubicBezTo>
                  <a:cubicBezTo>
                    <a:pt x="190" y="174"/>
                    <a:pt x="102" y="34"/>
                    <a:pt x="100" y="32"/>
                  </a:cubicBezTo>
                  <a:cubicBezTo>
                    <a:pt x="88" y="13"/>
                    <a:pt x="71" y="1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5"/>
                    <a:pt x="0" y="345"/>
                    <a:pt x="0" y="345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Freeform 63">
              <a:extLst>
                <a:ext uri="{FF2B5EF4-FFF2-40B4-BE49-F238E27FC236}">
                  <a16:creationId xmlns:a16="http://schemas.microsoft.com/office/drawing/2014/main" id="{F4B32C8A-2DE0-4AA8-974B-2FE75AAFD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" y="1327"/>
              <a:ext cx="295" cy="345"/>
            </a:xfrm>
            <a:custGeom>
              <a:avLst/>
              <a:gdLst>
                <a:gd name="T0" fmla="*/ 0 w 306"/>
                <a:gd name="T1" fmla="*/ 22 h 358"/>
                <a:gd name="T2" fmla="*/ 0 w 306"/>
                <a:gd name="T3" fmla="*/ 340 h 358"/>
                <a:gd name="T4" fmla="*/ 27 w 306"/>
                <a:gd name="T5" fmla="*/ 358 h 358"/>
                <a:gd name="T6" fmla="*/ 96 w 306"/>
                <a:gd name="T7" fmla="*/ 358 h 358"/>
                <a:gd name="T8" fmla="*/ 96 w 306"/>
                <a:gd name="T9" fmla="*/ 214 h 358"/>
                <a:gd name="T10" fmla="*/ 115 w 306"/>
                <a:gd name="T11" fmla="*/ 237 h 358"/>
                <a:gd name="T12" fmla="*/ 168 w 306"/>
                <a:gd name="T13" fmla="*/ 319 h 358"/>
                <a:gd name="T14" fmla="*/ 224 w 306"/>
                <a:gd name="T15" fmla="*/ 358 h 358"/>
                <a:gd name="T16" fmla="*/ 289 w 306"/>
                <a:gd name="T17" fmla="*/ 358 h 358"/>
                <a:gd name="T18" fmla="*/ 306 w 306"/>
                <a:gd name="T19" fmla="*/ 358 h 358"/>
                <a:gd name="T20" fmla="*/ 177 w 306"/>
                <a:gd name="T21" fmla="*/ 154 h 358"/>
                <a:gd name="T22" fmla="*/ 207 w 306"/>
                <a:gd name="T23" fmla="*/ 121 h 358"/>
                <a:gd name="T24" fmla="*/ 239 w 306"/>
                <a:gd name="T25" fmla="*/ 87 h 358"/>
                <a:gd name="T26" fmla="*/ 254 w 306"/>
                <a:gd name="T27" fmla="*/ 69 h 358"/>
                <a:gd name="T28" fmla="*/ 297 w 306"/>
                <a:gd name="T29" fmla="*/ 13 h 358"/>
                <a:gd name="T30" fmla="*/ 137 w 306"/>
                <a:gd name="T31" fmla="*/ 93 h 358"/>
                <a:gd name="T32" fmla="*/ 96 w 306"/>
                <a:gd name="T33" fmla="*/ 133 h 358"/>
                <a:gd name="T34" fmla="*/ 96 w 306"/>
                <a:gd name="T35" fmla="*/ 13 h 358"/>
                <a:gd name="T36" fmla="*/ 9 w 306"/>
                <a:gd name="T37" fmla="*/ 13 h 358"/>
                <a:gd name="T38" fmla="*/ 0 w 306"/>
                <a:gd name="T39" fmla="*/ 22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6" h="358">
                  <a:moveTo>
                    <a:pt x="0" y="22"/>
                  </a:moveTo>
                  <a:cubicBezTo>
                    <a:pt x="0" y="340"/>
                    <a:pt x="0" y="340"/>
                    <a:pt x="0" y="340"/>
                  </a:cubicBezTo>
                  <a:cubicBezTo>
                    <a:pt x="0" y="351"/>
                    <a:pt x="12" y="356"/>
                    <a:pt x="27" y="358"/>
                  </a:cubicBezTo>
                  <a:cubicBezTo>
                    <a:pt x="96" y="358"/>
                    <a:pt x="96" y="358"/>
                    <a:pt x="96" y="358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109" y="217"/>
                    <a:pt x="101" y="215"/>
                    <a:pt x="115" y="237"/>
                  </a:cubicBezTo>
                  <a:cubicBezTo>
                    <a:pt x="168" y="319"/>
                    <a:pt x="168" y="319"/>
                    <a:pt x="168" y="319"/>
                  </a:cubicBezTo>
                  <a:cubicBezTo>
                    <a:pt x="188" y="347"/>
                    <a:pt x="200" y="356"/>
                    <a:pt x="224" y="358"/>
                  </a:cubicBezTo>
                  <a:cubicBezTo>
                    <a:pt x="289" y="358"/>
                    <a:pt x="289" y="358"/>
                    <a:pt x="289" y="358"/>
                  </a:cubicBezTo>
                  <a:cubicBezTo>
                    <a:pt x="295" y="358"/>
                    <a:pt x="300" y="358"/>
                    <a:pt x="306" y="358"/>
                  </a:cubicBezTo>
                  <a:cubicBezTo>
                    <a:pt x="304" y="347"/>
                    <a:pt x="184" y="164"/>
                    <a:pt x="177" y="154"/>
                  </a:cubicBezTo>
                  <a:cubicBezTo>
                    <a:pt x="182" y="151"/>
                    <a:pt x="203" y="126"/>
                    <a:pt x="207" y="121"/>
                  </a:cubicBezTo>
                  <a:cubicBezTo>
                    <a:pt x="217" y="108"/>
                    <a:pt x="229" y="100"/>
                    <a:pt x="239" y="87"/>
                  </a:cubicBezTo>
                  <a:cubicBezTo>
                    <a:pt x="246" y="78"/>
                    <a:pt x="248" y="76"/>
                    <a:pt x="254" y="69"/>
                  </a:cubicBezTo>
                  <a:cubicBezTo>
                    <a:pt x="297" y="13"/>
                    <a:pt x="297" y="13"/>
                    <a:pt x="297" y="13"/>
                  </a:cubicBezTo>
                  <a:cubicBezTo>
                    <a:pt x="196" y="13"/>
                    <a:pt x="215" y="0"/>
                    <a:pt x="137" y="93"/>
                  </a:cubicBezTo>
                  <a:cubicBezTo>
                    <a:pt x="127" y="105"/>
                    <a:pt x="109" y="124"/>
                    <a:pt x="96" y="133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2" y="13"/>
                    <a:pt x="0" y="15"/>
                    <a:pt x="0" y="22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Freeform 64">
              <a:extLst>
                <a:ext uri="{FF2B5EF4-FFF2-40B4-BE49-F238E27FC236}">
                  <a16:creationId xmlns:a16="http://schemas.microsoft.com/office/drawing/2014/main" id="{49549A72-7908-4627-8B72-88F0C0FF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1339"/>
              <a:ext cx="228" cy="333"/>
            </a:xfrm>
            <a:custGeom>
              <a:avLst/>
              <a:gdLst>
                <a:gd name="T0" fmla="*/ 1 w 237"/>
                <a:gd name="T1" fmla="*/ 315 h 345"/>
                <a:gd name="T2" fmla="*/ 34 w 237"/>
                <a:gd name="T3" fmla="*/ 345 h 345"/>
                <a:gd name="T4" fmla="*/ 208 w 237"/>
                <a:gd name="T5" fmla="*/ 345 h 345"/>
                <a:gd name="T6" fmla="*/ 229 w 237"/>
                <a:gd name="T7" fmla="*/ 324 h 345"/>
                <a:gd name="T8" fmla="*/ 229 w 237"/>
                <a:gd name="T9" fmla="*/ 282 h 345"/>
                <a:gd name="T10" fmla="*/ 115 w 237"/>
                <a:gd name="T11" fmla="*/ 282 h 345"/>
                <a:gd name="T12" fmla="*/ 97 w 237"/>
                <a:gd name="T13" fmla="*/ 270 h 345"/>
                <a:gd name="T14" fmla="*/ 97 w 237"/>
                <a:gd name="T15" fmla="*/ 198 h 345"/>
                <a:gd name="T16" fmla="*/ 202 w 237"/>
                <a:gd name="T17" fmla="*/ 198 h 345"/>
                <a:gd name="T18" fmla="*/ 202 w 237"/>
                <a:gd name="T19" fmla="*/ 132 h 345"/>
                <a:gd name="T20" fmla="*/ 97 w 237"/>
                <a:gd name="T21" fmla="*/ 132 h 345"/>
                <a:gd name="T22" fmla="*/ 97 w 237"/>
                <a:gd name="T23" fmla="*/ 66 h 345"/>
                <a:gd name="T24" fmla="*/ 229 w 237"/>
                <a:gd name="T25" fmla="*/ 66 h 345"/>
                <a:gd name="T26" fmla="*/ 211 w 237"/>
                <a:gd name="T27" fmla="*/ 0 h 345"/>
                <a:gd name="T28" fmla="*/ 1 w 237"/>
                <a:gd name="T29" fmla="*/ 0 h 345"/>
                <a:gd name="T30" fmla="*/ 1 w 237"/>
                <a:gd name="T31" fmla="*/ 31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7" h="345">
                  <a:moveTo>
                    <a:pt x="1" y="315"/>
                  </a:moveTo>
                  <a:cubicBezTo>
                    <a:pt x="0" y="337"/>
                    <a:pt x="11" y="344"/>
                    <a:pt x="34" y="345"/>
                  </a:cubicBezTo>
                  <a:cubicBezTo>
                    <a:pt x="208" y="345"/>
                    <a:pt x="208" y="345"/>
                    <a:pt x="208" y="345"/>
                  </a:cubicBezTo>
                  <a:cubicBezTo>
                    <a:pt x="220" y="345"/>
                    <a:pt x="227" y="337"/>
                    <a:pt x="229" y="324"/>
                  </a:cubicBezTo>
                  <a:cubicBezTo>
                    <a:pt x="229" y="282"/>
                    <a:pt x="229" y="282"/>
                    <a:pt x="229" y="282"/>
                  </a:cubicBezTo>
                  <a:cubicBezTo>
                    <a:pt x="115" y="282"/>
                    <a:pt x="115" y="282"/>
                    <a:pt x="115" y="282"/>
                  </a:cubicBezTo>
                  <a:cubicBezTo>
                    <a:pt x="105" y="282"/>
                    <a:pt x="98" y="279"/>
                    <a:pt x="97" y="270"/>
                  </a:cubicBezTo>
                  <a:cubicBezTo>
                    <a:pt x="97" y="198"/>
                    <a:pt x="97" y="198"/>
                    <a:pt x="97" y="198"/>
                  </a:cubicBezTo>
                  <a:cubicBezTo>
                    <a:pt x="202" y="198"/>
                    <a:pt x="202" y="198"/>
                    <a:pt x="202" y="198"/>
                  </a:cubicBezTo>
                  <a:cubicBezTo>
                    <a:pt x="202" y="132"/>
                    <a:pt x="202" y="132"/>
                    <a:pt x="202" y="132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9" y="31"/>
                    <a:pt x="237" y="6"/>
                    <a:pt x="21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315"/>
                    <a:pt x="1" y="315"/>
                    <a:pt x="1" y="315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65">
              <a:extLst>
                <a:ext uri="{FF2B5EF4-FFF2-40B4-BE49-F238E27FC236}">
                  <a16:creationId xmlns:a16="http://schemas.microsoft.com/office/drawing/2014/main" id="{44B1586A-24F7-4959-B8A2-4E849AF7E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4" y="1339"/>
              <a:ext cx="90" cy="333"/>
            </a:xfrm>
            <a:custGeom>
              <a:avLst/>
              <a:gdLst>
                <a:gd name="T0" fmla="*/ 0 w 93"/>
                <a:gd name="T1" fmla="*/ 330 h 345"/>
                <a:gd name="T2" fmla="*/ 21 w 93"/>
                <a:gd name="T3" fmla="*/ 345 h 345"/>
                <a:gd name="T4" fmla="*/ 93 w 93"/>
                <a:gd name="T5" fmla="*/ 345 h 345"/>
                <a:gd name="T6" fmla="*/ 93 w 93"/>
                <a:gd name="T7" fmla="*/ 0 h 345"/>
                <a:gd name="T8" fmla="*/ 0 w 93"/>
                <a:gd name="T9" fmla="*/ 0 h 345"/>
                <a:gd name="T10" fmla="*/ 0 w 93"/>
                <a:gd name="T11" fmla="*/ 33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345">
                  <a:moveTo>
                    <a:pt x="0" y="330"/>
                  </a:moveTo>
                  <a:cubicBezTo>
                    <a:pt x="0" y="340"/>
                    <a:pt x="11" y="345"/>
                    <a:pt x="21" y="345"/>
                  </a:cubicBezTo>
                  <a:cubicBezTo>
                    <a:pt x="93" y="345"/>
                    <a:pt x="93" y="345"/>
                    <a:pt x="93" y="345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30"/>
                    <a:pt x="0" y="330"/>
                    <a:pt x="0" y="330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66">
              <a:extLst>
                <a:ext uri="{FF2B5EF4-FFF2-40B4-BE49-F238E27FC236}">
                  <a16:creationId xmlns:a16="http://schemas.microsoft.com/office/drawing/2014/main" id="{434B8D1F-6A2B-44AC-A007-DA4C75667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" y="1339"/>
              <a:ext cx="228" cy="333"/>
            </a:xfrm>
            <a:custGeom>
              <a:avLst/>
              <a:gdLst>
                <a:gd name="T0" fmla="*/ 1 w 237"/>
                <a:gd name="T1" fmla="*/ 315 h 345"/>
                <a:gd name="T2" fmla="*/ 34 w 237"/>
                <a:gd name="T3" fmla="*/ 345 h 345"/>
                <a:gd name="T4" fmla="*/ 208 w 237"/>
                <a:gd name="T5" fmla="*/ 345 h 345"/>
                <a:gd name="T6" fmla="*/ 229 w 237"/>
                <a:gd name="T7" fmla="*/ 324 h 345"/>
                <a:gd name="T8" fmla="*/ 229 w 237"/>
                <a:gd name="T9" fmla="*/ 282 h 345"/>
                <a:gd name="T10" fmla="*/ 115 w 237"/>
                <a:gd name="T11" fmla="*/ 282 h 345"/>
                <a:gd name="T12" fmla="*/ 97 w 237"/>
                <a:gd name="T13" fmla="*/ 270 h 345"/>
                <a:gd name="T14" fmla="*/ 97 w 237"/>
                <a:gd name="T15" fmla="*/ 198 h 345"/>
                <a:gd name="T16" fmla="*/ 202 w 237"/>
                <a:gd name="T17" fmla="*/ 198 h 345"/>
                <a:gd name="T18" fmla="*/ 202 w 237"/>
                <a:gd name="T19" fmla="*/ 132 h 345"/>
                <a:gd name="T20" fmla="*/ 97 w 237"/>
                <a:gd name="T21" fmla="*/ 132 h 345"/>
                <a:gd name="T22" fmla="*/ 97 w 237"/>
                <a:gd name="T23" fmla="*/ 66 h 345"/>
                <a:gd name="T24" fmla="*/ 229 w 237"/>
                <a:gd name="T25" fmla="*/ 66 h 345"/>
                <a:gd name="T26" fmla="*/ 211 w 237"/>
                <a:gd name="T27" fmla="*/ 0 h 345"/>
                <a:gd name="T28" fmla="*/ 1 w 237"/>
                <a:gd name="T29" fmla="*/ 0 h 345"/>
                <a:gd name="T30" fmla="*/ 1 w 237"/>
                <a:gd name="T31" fmla="*/ 31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7" h="345">
                  <a:moveTo>
                    <a:pt x="1" y="315"/>
                  </a:moveTo>
                  <a:cubicBezTo>
                    <a:pt x="0" y="337"/>
                    <a:pt x="11" y="344"/>
                    <a:pt x="34" y="345"/>
                  </a:cubicBezTo>
                  <a:cubicBezTo>
                    <a:pt x="208" y="345"/>
                    <a:pt x="208" y="345"/>
                    <a:pt x="208" y="345"/>
                  </a:cubicBezTo>
                  <a:cubicBezTo>
                    <a:pt x="220" y="345"/>
                    <a:pt x="227" y="337"/>
                    <a:pt x="229" y="324"/>
                  </a:cubicBezTo>
                  <a:cubicBezTo>
                    <a:pt x="229" y="282"/>
                    <a:pt x="229" y="282"/>
                    <a:pt x="229" y="282"/>
                  </a:cubicBezTo>
                  <a:cubicBezTo>
                    <a:pt x="115" y="282"/>
                    <a:pt x="115" y="282"/>
                    <a:pt x="115" y="282"/>
                  </a:cubicBezTo>
                  <a:cubicBezTo>
                    <a:pt x="105" y="282"/>
                    <a:pt x="98" y="279"/>
                    <a:pt x="97" y="270"/>
                  </a:cubicBezTo>
                  <a:cubicBezTo>
                    <a:pt x="97" y="198"/>
                    <a:pt x="97" y="198"/>
                    <a:pt x="97" y="198"/>
                  </a:cubicBezTo>
                  <a:cubicBezTo>
                    <a:pt x="202" y="198"/>
                    <a:pt x="202" y="198"/>
                    <a:pt x="202" y="198"/>
                  </a:cubicBezTo>
                  <a:cubicBezTo>
                    <a:pt x="202" y="132"/>
                    <a:pt x="202" y="132"/>
                    <a:pt x="202" y="132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9" y="31"/>
                    <a:pt x="237" y="6"/>
                    <a:pt x="21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315"/>
                    <a:pt x="1" y="315"/>
                    <a:pt x="1" y="315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67">
              <a:extLst>
                <a:ext uri="{FF2B5EF4-FFF2-40B4-BE49-F238E27FC236}">
                  <a16:creationId xmlns:a16="http://schemas.microsoft.com/office/drawing/2014/main" id="{2107A9AF-2875-4858-BFEC-DEA10846F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39"/>
              <a:ext cx="228" cy="333"/>
            </a:xfrm>
            <a:custGeom>
              <a:avLst/>
              <a:gdLst>
                <a:gd name="T0" fmla="*/ 1 w 237"/>
                <a:gd name="T1" fmla="*/ 315 h 345"/>
                <a:gd name="T2" fmla="*/ 34 w 237"/>
                <a:gd name="T3" fmla="*/ 345 h 345"/>
                <a:gd name="T4" fmla="*/ 208 w 237"/>
                <a:gd name="T5" fmla="*/ 345 h 345"/>
                <a:gd name="T6" fmla="*/ 229 w 237"/>
                <a:gd name="T7" fmla="*/ 324 h 345"/>
                <a:gd name="T8" fmla="*/ 229 w 237"/>
                <a:gd name="T9" fmla="*/ 282 h 345"/>
                <a:gd name="T10" fmla="*/ 115 w 237"/>
                <a:gd name="T11" fmla="*/ 282 h 345"/>
                <a:gd name="T12" fmla="*/ 97 w 237"/>
                <a:gd name="T13" fmla="*/ 270 h 345"/>
                <a:gd name="T14" fmla="*/ 97 w 237"/>
                <a:gd name="T15" fmla="*/ 198 h 345"/>
                <a:gd name="T16" fmla="*/ 202 w 237"/>
                <a:gd name="T17" fmla="*/ 198 h 345"/>
                <a:gd name="T18" fmla="*/ 202 w 237"/>
                <a:gd name="T19" fmla="*/ 132 h 345"/>
                <a:gd name="T20" fmla="*/ 97 w 237"/>
                <a:gd name="T21" fmla="*/ 132 h 345"/>
                <a:gd name="T22" fmla="*/ 97 w 237"/>
                <a:gd name="T23" fmla="*/ 66 h 345"/>
                <a:gd name="T24" fmla="*/ 229 w 237"/>
                <a:gd name="T25" fmla="*/ 66 h 345"/>
                <a:gd name="T26" fmla="*/ 211 w 237"/>
                <a:gd name="T27" fmla="*/ 0 h 345"/>
                <a:gd name="T28" fmla="*/ 1 w 237"/>
                <a:gd name="T29" fmla="*/ 0 h 345"/>
                <a:gd name="T30" fmla="*/ 1 w 237"/>
                <a:gd name="T31" fmla="*/ 31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7" h="345">
                  <a:moveTo>
                    <a:pt x="1" y="315"/>
                  </a:moveTo>
                  <a:cubicBezTo>
                    <a:pt x="0" y="337"/>
                    <a:pt x="11" y="344"/>
                    <a:pt x="34" y="345"/>
                  </a:cubicBezTo>
                  <a:cubicBezTo>
                    <a:pt x="208" y="345"/>
                    <a:pt x="208" y="345"/>
                    <a:pt x="208" y="345"/>
                  </a:cubicBezTo>
                  <a:cubicBezTo>
                    <a:pt x="220" y="345"/>
                    <a:pt x="227" y="337"/>
                    <a:pt x="229" y="324"/>
                  </a:cubicBezTo>
                  <a:cubicBezTo>
                    <a:pt x="229" y="282"/>
                    <a:pt x="229" y="282"/>
                    <a:pt x="229" y="282"/>
                  </a:cubicBezTo>
                  <a:cubicBezTo>
                    <a:pt x="115" y="282"/>
                    <a:pt x="115" y="282"/>
                    <a:pt x="115" y="282"/>
                  </a:cubicBezTo>
                  <a:cubicBezTo>
                    <a:pt x="105" y="282"/>
                    <a:pt x="98" y="279"/>
                    <a:pt x="97" y="270"/>
                  </a:cubicBezTo>
                  <a:cubicBezTo>
                    <a:pt x="97" y="198"/>
                    <a:pt x="97" y="198"/>
                    <a:pt x="97" y="198"/>
                  </a:cubicBezTo>
                  <a:cubicBezTo>
                    <a:pt x="202" y="198"/>
                    <a:pt x="202" y="198"/>
                    <a:pt x="202" y="198"/>
                  </a:cubicBezTo>
                  <a:cubicBezTo>
                    <a:pt x="202" y="132"/>
                    <a:pt x="202" y="132"/>
                    <a:pt x="202" y="132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9" y="31"/>
                    <a:pt x="237" y="6"/>
                    <a:pt x="21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315"/>
                    <a:pt x="1" y="315"/>
                    <a:pt x="1" y="315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68">
              <a:extLst>
                <a:ext uri="{FF2B5EF4-FFF2-40B4-BE49-F238E27FC236}">
                  <a16:creationId xmlns:a16="http://schemas.microsoft.com/office/drawing/2014/main" id="{7C5DA3C5-E056-4A00-B6D5-6418BB0A2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" y="1338"/>
              <a:ext cx="273" cy="329"/>
            </a:xfrm>
            <a:custGeom>
              <a:avLst/>
              <a:gdLst>
                <a:gd name="T0" fmla="*/ 17 w 284"/>
                <a:gd name="T1" fmla="*/ 33 h 341"/>
                <a:gd name="T2" fmla="*/ 16 w 284"/>
                <a:gd name="T3" fmla="*/ 341 h 341"/>
                <a:gd name="T4" fmla="*/ 110 w 284"/>
                <a:gd name="T5" fmla="*/ 341 h 341"/>
                <a:gd name="T6" fmla="*/ 110 w 284"/>
                <a:gd name="T7" fmla="*/ 192 h 341"/>
                <a:gd name="T8" fmla="*/ 191 w 284"/>
                <a:gd name="T9" fmla="*/ 192 h 341"/>
                <a:gd name="T10" fmla="*/ 191 w 284"/>
                <a:gd name="T11" fmla="*/ 341 h 341"/>
                <a:gd name="T12" fmla="*/ 284 w 284"/>
                <a:gd name="T13" fmla="*/ 341 h 341"/>
                <a:gd name="T14" fmla="*/ 284 w 284"/>
                <a:gd name="T15" fmla="*/ 0 h 341"/>
                <a:gd name="T16" fmla="*/ 191 w 284"/>
                <a:gd name="T17" fmla="*/ 0 h 341"/>
                <a:gd name="T18" fmla="*/ 191 w 284"/>
                <a:gd name="T19" fmla="*/ 123 h 341"/>
                <a:gd name="T20" fmla="*/ 182 w 284"/>
                <a:gd name="T21" fmla="*/ 132 h 341"/>
                <a:gd name="T22" fmla="*/ 119 w 284"/>
                <a:gd name="T23" fmla="*/ 132 h 341"/>
                <a:gd name="T24" fmla="*/ 110 w 284"/>
                <a:gd name="T25" fmla="*/ 123 h 341"/>
                <a:gd name="T26" fmla="*/ 110 w 284"/>
                <a:gd name="T27" fmla="*/ 0 h 341"/>
                <a:gd name="T28" fmla="*/ 2 w 284"/>
                <a:gd name="T29" fmla="*/ 0 h 341"/>
                <a:gd name="T30" fmla="*/ 17 w 284"/>
                <a:gd name="T31" fmla="*/ 33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4" h="341">
                  <a:moveTo>
                    <a:pt x="17" y="33"/>
                  </a:moveTo>
                  <a:cubicBezTo>
                    <a:pt x="16" y="341"/>
                    <a:pt x="16" y="341"/>
                    <a:pt x="16" y="341"/>
                  </a:cubicBezTo>
                  <a:cubicBezTo>
                    <a:pt x="110" y="341"/>
                    <a:pt x="110" y="341"/>
                    <a:pt x="110" y="341"/>
                  </a:cubicBezTo>
                  <a:cubicBezTo>
                    <a:pt x="110" y="192"/>
                    <a:pt x="110" y="192"/>
                    <a:pt x="110" y="192"/>
                  </a:cubicBezTo>
                  <a:cubicBezTo>
                    <a:pt x="191" y="192"/>
                    <a:pt x="191" y="192"/>
                    <a:pt x="191" y="192"/>
                  </a:cubicBezTo>
                  <a:cubicBezTo>
                    <a:pt x="191" y="341"/>
                    <a:pt x="191" y="341"/>
                    <a:pt x="191" y="341"/>
                  </a:cubicBezTo>
                  <a:cubicBezTo>
                    <a:pt x="284" y="341"/>
                    <a:pt x="284" y="341"/>
                    <a:pt x="284" y="341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1" y="123"/>
                    <a:pt x="191" y="123"/>
                    <a:pt x="191" y="123"/>
                  </a:cubicBezTo>
                  <a:cubicBezTo>
                    <a:pt x="191" y="129"/>
                    <a:pt x="188" y="132"/>
                    <a:pt x="182" y="132"/>
                  </a:cubicBezTo>
                  <a:cubicBezTo>
                    <a:pt x="119" y="132"/>
                    <a:pt x="119" y="132"/>
                    <a:pt x="119" y="132"/>
                  </a:cubicBezTo>
                  <a:cubicBezTo>
                    <a:pt x="113" y="132"/>
                    <a:pt x="110" y="129"/>
                    <a:pt x="110" y="123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23"/>
                    <a:pt x="18" y="13"/>
                    <a:pt x="17" y="33"/>
                  </a:cubicBezTo>
                  <a:close/>
                </a:path>
              </a:pathLst>
            </a:custGeom>
            <a:solidFill>
              <a:srgbClr val="0054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69">
              <a:extLst>
                <a:ext uri="{FF2B5EF4-FFF2-40B4-BE49-F238E27FC236}">
                  <a16:creationId xmlns:a16="http://schemas.microsoft.com/office/drawing/2014/main" id="{6D764A7C-93E1-42E0-8CDF-F77E6F036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" y="1061"/>
              <a:ext cx="430" cy="406"/>
            </a:xfrm>
            <a:custGeom>
              <a:avLst/>
              <a:gdLst>
                <a:gd name="T0" fmla="*/ 133 w 447"/>
                <a:gd name="T1" fmla="*/ 224 h 420"/>
                <a:gd name="T2" fmla="*/ 199 w 447"/>
                <a:gd name="T3" fmla="*/ 273 h 420"/>
                <a:gd name="T4" fmla="*/ 173 w 447"/>
                <a:gd name="T5" fmla="*/ 363 h 420"/>
                <a:gd name="T6" fmla="*/ 96 w 447"/>
                <a:gd name="T7" fmla="*/ 417 h 420"/>
                <a:gd name="T8" fmla="*/ 91 w 447"/>
                <a:gd name="T9" fmla="*/ 399 h 420"/>
                <a:gd name="T10" fmla="*/ 135 w 447"/>
                <a:gd name="T11" fmla="*/ 261 h 420"/>
                <a:gd name="T12" fmla="*/ 4 w 447"/>
                <a:gd name="T13" fmla="*/ 164 h 420"/>
                <a:gd name="T14" fmla="*/ 13 w 447"/>
                <a:gd name="T15" fmla="*/ 155 h 420"/>
                <a:gd name="T16" fmla="*/ 171 w 447"/>
                <a:gd name="T17" fmla="*/ 157 h 420"/>
                <a:gd name="T18" fmla="*/ 219 w 447"/>
                <a:gd name="T19" fmla="*/ 10 h 420"/>
                <a:gd name="T20" fmla="*/ 231 w 447"/>
                <a:gd name="T21" fmla="*/ 9 h 420"/>
                <a:gd name="T22" fmla="*/ 279 w 447"/>
                <a:gd name="T23" fmla="*/ 158 h 420"/>
                <a:gd name="T24" fmla="*/ 441 w 447"/>
                <a:gd name="T25" fmla="*/ 158 h 420"/>
                <a:gd name="T26" fmla="*/ 443 w 447"/>
                <a:gd name="T27" fmla="*/ 164 h 420"/>
                <a:gd name="T28" fmla="*/ 364 w 447"/>
                <a:gd name="T29" fmla="*/ 221 h 420"/>
                <a:gd name="T30" fmla="*/ 274 w 447"/>
                <a:gd name="T31" fmla="*/ 221 h 420"/>
                <a:gd name="T32" fmla="*/ 250 w 447"/>
                <a:gd name="T33" fmla="*/ 145 h 420"/>
                <a:gd name="T34" fmla="*/ 244 w 447"/>
                <a:gd name="T35" fmla="*/ 145 h 420"/>
                <a:gd name="T36" fmla="*/ 218 w 447"/>
                <a:gd name="T37" fmla="*/ 220 h 420"/>
                <a:gd name="T38" fmla="*/ 133 w 447"/>
                <a:gd name="T39" fmla="*/ 221 h 420"/>
                <a:gd name="T40" fmla="*/ 133 w 447"/>
                <a:gd name="T41" fmla="*/ 224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7" h="420">
                  <a:moveTo>
                    <a:pt x="133" y="224"/>
                  </a:moveTo>
                  <a:cubicBezTo>
                    <a:pt x="199" y="273"/>
                    <a:pt x="199" y="273"/>
                    <a:pt x="199" y="273"/>
                  </a:cubicBezTo>
                  <a:cubicBezTo>
                    <a:pt x="173" y="363"/>
                    <a:pt x="173" y="363"/>
                    <a:pt x="173" y="363"/>
                  </a:cubicBezTo>
                  <a:cubicBezTo>
                    <a:pt x="147" y="381"/>
                    <a:pt x="121" y="399"/>
                    <a:pt x="96" y="417"/>
                  </a:cubicBezTo>
                  <a:cubicBezTo>
                    <a:pt x="86" y="420"/>
                    <a:pt x="86" y="412"/>
                    <a:pt x="91" y="399"/>
                  </a:cubicBezTo>
                  <a:cubicBezTo>
                    <a:pt x="135" y="261"/>
                    <a:pt x="135" y="261"/>
                    <a:pt x="135" y="261"/>
                  </a:cubicBezTo>
                  <a:cubicBezTo>
                    <a:pt x="91" y="229"/>
                    <a:pt x="48" y="196"/>
                    <a:pt x="4" y="164"/>
                  </a:cubicBezTo>
                  <a:cubicBezTo>
                    <a:pt x="0" y="160"/>
                    <a:pt x="1" y="155"/>
                    <a:pt x="13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87" y="108"/>
                    <a:pt x="203" y="59"/>
                    <a:pt x="219" y="10"/>
                  </a:cubicBezTo>
                  <a:cubicBezTo>
                    <a:pt x="222" y="0"/>
                    <a:pt x="228" y="2"/>
                    <a:pt x="231" y="9"/>
                  </a:cubicBezTo>
                  <a:cubicBezTo>
                    <a:pt x="279" y="158"/>
                    <a:pt x="279" y="158"/>
                    <a:pt x="279" y="158"/>
                  </a:cubicBezTo>
                  <a:cubicBezTo>
                    <a:pt x="441" y="158"/>
                    <a:pt x="441" y="158"/>
                    <a:pt x="441" y="158"/>
                  </a:cubicBezTo>
                  <a:cubicBezTo>
                    <a:pt x="446" y="158"/>
                    <a:pt x="447" y="162"/>
                    <a:pt x="443" y="164"/>
                  </a:cubicBezTo>
                  <a:cubicBezTo>
                    <a:pt x="364" y="221"/>
                    <a:pt x="364" y="221"/>
                    <a:pt x="364" y="221"/>
                  </a:cubicBezTo>
                  <a:cubicBezTo>
                    <a:pt x="274" y="221"/>
                    <a:pt x="274" y="221"/>
                    <a:pt x="274" y="221"/>
                  </a:cubicBezTo>
                  <a:cubicBezTo>
                    <a:pt x="250" y="145"/>
                    <a:pt x="250" y="145"/>
                    <a:pt x="250" y="145"/>
                  </a:cubicBezTo>
                  <a:cubicBezTo>
                    <a:pt x="248" y="141"/>
                    <a:pt x="245" y="141"/>
                    <a:pt x="244" y="145"/>
                  </a:cubicBezTo>
                  <a:cubicBezTo>
                    <a:pt x="218" y="220"/>
                    <a:pt x="218" y="220"/>
                    <a:pt x="218" y="220"/>
                  </a:cubicBezTo>
                  <a:cubicBezTo>
                    <a:pt x="133" y="221"/>
                    <a:pt x="133" y="221"/>
                    <a:pt x="133" y="221"/>
                  </a:cubicBezTo>
                  <a:cubicBezTo>
                    <a:pt x="130" y="221"/>
                    <a:pt x="130" y="222"/>
                    <a:pt x="133" y="224"/>
                  </a:cubicBez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202262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D8B67823-9900-4E55-A8A7-463A56AE23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21" y="252954"/>
            <a:ext cx="11214424" cy="6441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862C6D1-FC83-493E-A77D-BBE2E594F5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81080"/>
            <a:ext cx="10972794" cy="481492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AEB11D-8012-4252-B279-8A94055BFB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723" y="6488800"/>
            <a:ext cx="646072" cy="128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58E38603-7346-4ED7-AD6C-E956CA9A96A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543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64"/>
          <p:cNvGrpSpPr/>
          <p:nvPr userDrawn="1"/>
        </p:nvGrpSpPr>
        <p:grpSpPr>
          <a:xfrm>
            <a:off x="4811558" y="-1006561"/>
            <a:ext cx="7840828" cy="3084222"/>
            <a:chOff x="4811558" y="-1006561"/>
            <a:chExt cx="7840828" cy="3084222"/>
          </a:xfrm>
        </p:grpSpPr>
        <p:grpSp>
          <p:nvGrpSpPr>
            <p:cNvPr id="66" name="Group 65"/>
            <p:cNvGrpSpPr/>
            <p:nvPr userDrawn="1"/>
          </p:nvGrpSpPr>
          <p:grpSpPr>
            <a:xfrm>
              <a:off x="4842135" y="-1006561"/>
              <a:ext cx="7810251" cy="3084222"/>
              <a:chOff x="4842135" y="-1147237"/>
              <a:chExt cx="7810251" cy="3084222"/>
            </a:xfrm>
          </p:grpSpPr>
          <p:grpSp>
            <p:nvGrpSpPr>
              <p:cNvPr id="68" name="Group 67"/>
              <p:cNvGrpSpPr/>
              <p:nvPr userDrawn="1"/>
            </p:nvGrpSpPr>
            <p:grpSpPr>
              <a:xfrm>
                <a:off x="4905925" y="-1147237"/>
                <a:ext cx="7746461" cy="1703496"/>
                <a:chOff x="4905925" y="-1147237"/>
                <a:chExt cx="7746461" cy="1703496"/>
              </a:xfrm>
            </p:grpSpPr>
            <p:sp>
              <p:nvSpPr>
                <p:cNvPr id="120" name="Arc 119"/>
                <p:cNvSpPr/>
                <p:nvPr userDrawn="1"/>
              </p:nvSpPr>
              <p:spPr>
                <a:xfrm flipV="1">
                  <a:off x="10402251" y="-706189"/>
                  <a:ext cx="2250135" cy="1036928"/>
                </a:xfrm>
                <a:prstGeom prst="arc">
                  <a:avLst>
                    <a:gd name="adj1" fmla="val 16200000"/>
                    <a:gd name="adj2" fmla="val 19579736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21" name="Arc 120"/>
                <p:cNvSpPr/>
                <p:nvPr userDrawn="1"/>
              </p:nvSpPr>
              <p:spPr>
                <a:xfrm flipV="1">
                  <a:off x="9684117" y="-918669"/>
                  <a:ext cx="2250135" cy="1036928"/>
                </a:xfrm>
                <a:prstGeom prst="arc">
                  <a:avLst>
                    <a:gd name="adj1" fmla="val 16200000"/>
                    <a:gd name="adj2" fmla="val 20574427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22" name="Arc 121"/>
                <p:cNvSpPr/>
                <p:nvPr userDrawn="1"/>
              </p:nvSpPr>
              <p:spPr>
                <a:xfrm rot="18199459" flipV="1">
                  <a:off x="7817841" y="-709224"/>
                  <a:ext cx="1679688" cy="803662"/>
                </a:xfrm>
                <a:prstGeom prst="arc">
                  <a:avLst>
                    <a:gd name="adj1" fmla="val 10681396"/>
                    <a:gd name="adj2" fmla="val 13238840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23" name="Arc 122"/>
                <p:cNvSpPr/>
                <p:nvPr userDrawn="1"/>
              </p:nvSpPr>
              <p:spPr>
                <a:xfrm rot="6253563" flipV="1">
                  <a:off x="4696386" y="-792177"/>
                  <a:ext cx="1679688" cy="1017183"/>
                </a:xfrm>
                <a:prstGeom prst="arc">
                  <a:avLst>
                    <a:gd name="adj1" fmla="val 19898082"/>
                    <a:gd name="adj2" fmla="val 21412166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24" name="Arc 123"/>
                <p:cNvSpPr/>
                <p:nvPr userDrawn="1"/>
              </p:nvSpPr>
              <p:spPr>
                <a:xfrm rot="9399615" flipH="1" flipV="1">
                  <a:off x="6411702" y="-312434"/>
                  <a:ext cx="2522862" cy="296105"/>
                </a:xfrm>
                <a:prstGeom prst="arc">
                  <a:avLst>
                    <a:gd name="adj1" fmla="val 11068407"/>
                    <a:gd name="adj2" fmla="val 11809466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25" name="Arc 124"/>
                <p:cNvSpPr/>
                <p:nvPr userDrawn="1"/>
              </p:nvSpPr>
              <p:spPr>
                <a:xfrm rot="21374577" flipV="1">
                  <a:off x="4905925" y="-1120706"/>
                  <a:ext cx="2395971" cy="1325986"/>
                </a:xfrm>
                <a:prstGeom prst="arc">
                  <a:avLst>
                    <a:gd name="adj1" fmla="val 12446966"/>
                    <a:gd name="adj2" fmla="val 16636133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69" name="Arc 68"/>
              <p:cNvSpPr/>
              <p:nvPr/>
            </p:nvSpPr>
            <p:spPr>
              <a:xfrm rot="7045852" flipV="1">
                <a:off x="9868633" y="695310"/>
                <a:ext cx="1679688" cy="803662"/>
              </a:xfrm>
              <a:prstGeom prst="arc">
                <a:avLst>
                  <a:gd name="adj1" fmla="val 11064838"/>
                  <a:gd name="adj2" fmla="val 13221745"/>
                </a:avLst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70" name="Group 69"/>
              <p:cNvGrpSpPr/>
              <p:nvPr userDrawn="1"/>
            </p:nvGrpSpPr>
            <p:grpSpPr>
              <a:xfrm>
                <a:off x="4842135" y="-287350"/>
                <a:ext cx="7797475" cy="1693494"/>
                <a:chOff x="4842135" y="-287350"/>
                <a:chExt cx="7797475" cy="1693494"/>
              </a:xfrm>
            </p:grpSpPr>
            <p:sp>
              <p:nvSpPr>
                <p:cNvPr id="71" name="Arc 70"/>
                <p:cNvSpPr/>
                <p:nvPr/>
              </p:nvSpPr>
              <p:spPr>
                <a:xfrm flipV="1">
                  <a:off x="10959922" y="202363"/>
                  <a:ext cx="1679688" cy="1017183"/>
                </a:xfrm>
                <a:prstGeom prst="arc">
                  <a:avLst>
                    <a:gd name="adj1" fmla="val 16200000"/>
                    <a:gd name="adj2" fmla="val 18448392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2" name="Arc 71"/>
                <p:cNvSpPr/>
                <p:nvPr/>
              </p:nvSpPr>
              <p:spPr>
                <a:xfrm rot="642248" flipV="1">
                  <a:off x="5939801" y="813372"/>
                  <a:ext cx="2250135" cy="413137"/>
                </a:xfrm>
                <a:prstGeom prst="arc">
                  <a:avLst>
                    <a:gd name="adj1" fmla="val 11378465"/>
                    <a:gd name="adj2" fmla="val 21548260"/>
                  </a:avLst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grpSp>
              <p:nvGrpSpPr>
                <p:cNvPr id="73" name="Group 72"/>
                <p:cNvGrpSpPr/>
                <p:nvPr userDrawn="1"/>
              </p:nvGrpSpPr>
              <p:grpSpPr>
                <a:xfrm>
                  <a:off x="4842135" y="-287350"/>
                  <a:ext cx="6922879" cy="1693494"/>
                  <a:chOff x="4842135" y="-287350"/>
                  <a:chExt cx="6922879" cy="1693494"/>
                </a:xfrm>
              </p:grpSpPr>
              <p:sp>
                <p:nvSpPr>
                  <p:cNvPr id="74" name="Hexagon 73"/>
                  <p:cNvSpPr/>
                  <p:nvPr/>
                </p:nvSpPr>
                <p:spPr>
                  <a:xfrm>
                    <a:off x="7958719" y="861226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75" name="Hexagon 74"/>
                  <p:cNvSpPr/>
                  <p:nvPr/>
                </p:nvSpPr>
                <p:spPr>
                  <a:xfrm>
                    <a:off x="5309100" y="334247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76" name="Hexagon 75"/>
                  <p:cNvSpPr/>
                  <p:nvPr/>
                </p:nvSpPr>
                <p:spPr>
                  <a:xfrm>
                    <a:off x="5847034" y="715679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77" name="Hexagon 76"/>
                  <p:cNvSpPr/>
                  <p:nvPr/>
                </p:nvSpPr>
                <p:spPr>
                  <a:xfrm>
                    <a:off x="6230247" y="8083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78" name="Hexagon 77"/>
                  <p:cNvSpPr/>
                  <p:nvPr/>
                </p:nvSpPr>
                <p:spPr>
                  <a:xfrm>
                    <a:off x="7131340" y="404232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79" name="Hexagon 78"/>
                  <p:cNvSpPr/>
                  <p:nvPr/>
                </p:nvSpPr>
                <p:spPr>
                  <a:xfrm>
                    <a:off x="4842135" y="-146400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0" name="Hexagon 79"/>
                  <p:cNvSpPr/>
                  <p:nvPr/>
                </p:nvSpPr>
                <p:spPr>
                  <a:xfrm>
                    <a:off x="7719640" y="172218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1" name="Hexagon 80"/>
                  <p:cNvSpPr/>
                  <p:nvPr/>
                </p:nvSpPr>
                <p:spPr>
                  <a:xfrm>
                    <a:off x="8734357" y="697526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2" name="Hexagon 81"/>
                  <p:cNvSpPr/>
                  <p:nvPr/>
                </p:nvSpPr>
                <p:spPr>
                  <a:xfrm>
                    <a:off x="9763845" y="715679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3" name="Hexagon 82"/>
                  <p:cNvSpPr/>
                  <p:nvPr/>
                </p:nvSpPr>
                <p:spPr>
                  <a:xfrm>
                    <a:off x="10367626" y="581437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4" name="Hexagon 83"/>
                  <p:cNvSpPr/>
                  <p:nvPr/>
                </p:nvSpPr>
                <p:spPr>
                  <a:xfrm>
                    <a:off x="11349395" y="1042865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5" name="Hexagon 84"/>
                  <p:cNvSpPr/>
                  <p:nvPr/>
                </p:nvSpPr>
                <p:spPr>
                  <a:xfrm>
                    <a:off x="11081334" y="168159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6" name="Hexagon 85"/>
                  <p:cNvSpPr/>
                  <p:nvPr/>
                </p:nvSpPr>
                <p:spPr>
                  <a:xfrm>
                    <a:off x="9410841" y="58005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7" name="Hexagon 86"/>
                  <p:cNvSpPr/>
                  <p:nvPr/>
                </p:nvSpPr>
                <p:spPr>
                  <a:xfrm>
                    <a:off x="10367521" y="-66642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8" name="Hexagon 87"/>
                  <p:cNvSpPr/>
                  <p:nvPr/>
                </p:nvSpPr>
                <p:spPr>
                  <a:xfrm>
                    <a:off x="8519935" y="-133233"/>
                    <a:ext cx="415619" cy="363279"/>
                  </a:xfrm>
                  <a:prstGeom prst="hexagon">
                    <a:avLst/>
                  </a:prstGeom>
                  <a:noFill/>
                  <a:ln w="6350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89" name="Arc 88"/>
                  <p:cNvSpPr/>
                  <p:nvPr/>
                </p:nvSpPr>
                <p:spPr>
                  <a:xfrm rot="14149724" flipV="1">
                    <a:off x="9183690" y="39325"/>
                    <a:ext cx="237515" cy="971688"/>
                  </a:xfrm>
                  <a:prstGeom prst="arc">
                    <a:avLst>
                      <a:gd name="adj1" fmla="val 17722299"/>
                      <a:gd name="adj2" fmla="val 4802698"/>
                    </a:avLst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90" name="Arc 89"/>
                  <p:cNvSpPr/>
                  <p:nvPr/>
                </p:nvSpPr>
                <p:spPr>
                  <a:xfrm rot="7726070" flipH="1" flipV="1">
                    <a:off x="9634106" y="373495"/>
                    <a:ext cx="1321110" cy="288013"/>
                  </a:xfrm>
                  <a:prstGeom prst="arc">
                    <a:avLst>
                      <a:gd name="adj1" fmla="val 12012468"/>
                      <a:gd name="adj2" fmla="val 20279276"/>
                    </a:avLst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91" name="Arc 90"/>
                  <p:cNvSpPr/>
                  <p:nvPr/>
                </p:nvSpPr>
                <p:spPr>
                  <a:xfrm rot="9867682" flipH="1" flipV="1">
                    <a:off x="5936653" y="450998"/>
                    <a:ext cx="1835110" cy="254536"/>
                  </a:xfrm>
                  <a:prstGeom prst="arc">
                    <a:avLst>
                      <a:gd name="adj1" fmla="val 11120647"/>
                      <a:gd name="adj2" fmla="val 4124"/>
                    </a:avLst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92" name="Arc 91"/>
                  <p:cNvSpPr/>
                  <p:nvPr/>
                </p:nvSpPr>
                <p:spPr>
                  <a:xfrm rot="5762793" flipH="1">
                    <a:off x="7338576" y="190727"/>
                    <a:ext cx="421238" cy="1223971"/>
                  </a:xfrm>
                  <a:prstGeom prst="arc">
                    <a:avLst>
                      <a:gd name="adj1" fmla="val 16323063"/>
                      <a:gd name="adj2" fmla="val 137605"/>
                    </a:avLst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93" name="Arc 92"/>
                  <p:cNvSpPr/>
                  <p:nvPr/>
                </p:nvSpPr>
                <p:spPr>
                  <a:xfrm rot="20983836" flipV="1">
                    <a:off x="7137824" y="-287350"/>
                    <a:ext cx="2395971" cy="1324112"/>
                  </a:xfrm>
                  <a:prstGeom prst="arc">
                    <a:avLst>
                      <a:gd name="adj1" fmla="val 15933637"/>
                      <a:gd name="adj2" fmla="val 17686666"/>
                    </a:avLst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94" name="Arc 93"/>
                  <p:cNvSpPr/>
                  <p:nvPr/>
                </p:nvSpPr>
                <p:spPr>
                  <a:xfrm rot="8063299">
                    <a:off x="10791761" y="181701"/>
                    <a:ext cx="395708" cy="1223971"/>
                  </a:xfrm>
                  <a:prstGeom prst="arc">
                    <a:avLst>
                      <a:gd name="adj1" fmla="val 16582749"/>
                      <a:gd name="adj2" fmla="val 1996864"/>
                    </a:avLst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pic>
                <p:nvPicPr>
                  <p:cNvPr id="95" name="Picture 94"/>
                  <p:cNvPicPr>
                    <a:picLocks noChangeAspect="1"/>
                  </p:cNvPicPr>
                  <p:nvPr/>
                </p:nvPicPr>
                <p:blipFill>
                  <a:blip r:embed="rId2" cstate="screen"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sharpenSoften amount="-5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032306" y="901931"/>
                    <a:ext cx="274425" cy="317615"/>
                  </a:xfrm>
                  <a:prstGeom prst="rect">
                    <a:avLst/>
                  </a:prstGeom>
                </p:spPr>
              </p:pic>
              <p:pic>
                <p:nvPicPr>
                  <p:cNvPr id="96" name="Picture 95"/>
                  <p:cNvPicPr>
                    <a:picLocks noChangeAspect="1"/>
                  </p:cNvPicPr>
                  <p:nvPr/>
                </p:nvPicPr>
                <p:blipFill rotWithShape="1">
                  <a:blip r:embed="rId4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saturation sat="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8868201" y="727320"/>
                    <a:ext cx="146970" cy="283395"/>
                  </a:xfrm>
                  <a:prstGeom prst="rect">
                    <a:avLst/>
                  </a:prstGeom>
                </p:spPr>
              </p:pic>
              <p:pic>
                <p:nvPicPr>
                  <p:cNvPr id="97" name="Picture 96">
                    <a:extLst>
                      <a:ext uri="{FF2B5EF4-FFF2-40B4-BE49-F238E27FC236}">
                        <a16:creationId xmlns:a16="http://schemas.microsoft.com/office/drawing/2014/main" id="{5EDD9383-F725-4136-9944-678C40F889F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screen">
                    <a:duotone>
                      <a:prstClr val="black"/>
                      <a:schemeClr val="accent5">
                        <a:tint val="45000"/>
                        <a:satMod val="400000"/>
                      </a:scheme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7">
                            <a14:imgEffect>
                              <a14:brightnessContrast bright="-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5963429" y="789677"/>
                    <a:ext cx="193375" cy="213262"/>
                  </a:xfrm>
                  <a:prstGeom prst="rect">
                    <a:avLst/>
                  </a:prstGeom>
                </p:spPr>
              </p:pic>
              <p:pic>
                <p:nvPicPr>
                  <p:cNvPr id="98" name="Picture 97"/>
                  <p:cNvPicPr>
                    <a:picLocks noChangeAspect="1"/>
                  </p:cNvPicPr>
                  <p:nvPr/>
                </p:nvPicPr>
                <p:blipFill rotWithShape="1">
                  <a:blip r:embed="rId8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BEBA8EAE-BF5A-486C-A8C5-ECC9F3942E4B}">
                        <a14:imgProps xmlns:a14="http://schemas.microsoft.com/office/drawing/2010/main">
                          <a14:imgLayer r:embed="rId9">
                            <a14:imgEffect>
                              <a14:saturation sat="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9860338" y="792114"/>
                    <a:ext cx="263371" cy="204247"/>
                  </a:xfrm>
                  <a:prstGeom prst="rect">
                    <a:avLst/>
                  </a:prstGeom>
                </p:spPr>
              </p:pic>
              <p:sp>
                <p:nvSpPr>
                  <p:cNvPr id="99" name="Rectangle 98"/>
                  <p:cNvSpPr/>
                  <p:nvPr/>
                </p:nvSpPr>
                <p:spPr>
                  <a:xfrm>
                    <a:off x="9898075" y="827249"/>
                    <a:ext cx="112493" cy="94618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100" name="Star: 5 Points 14">
                    <a:extLst>
                      <a:ext uri="{FF2B5EF4-FFF2-40B4-BE49-F238E27FC236}">
                        <a16:creationId xmlns:a16="http://schemas.microsoft.com/office/drawing/2014/main" id="{021C316D-8831-4415-943B-A2B665E7B065}"/>
                      </a:ext>
                    </a:extLst>
                  </p:cNvPr>
                  <p:cNvSpPr/>
                  <p:nvPr/>
                </p:nvSpPr>
                <p:spPr>
                  <a:xfrm>
                    <a:off x="9909084" y="827250"/>
                    <a:ext cx="92728" cy="81698"/>
                  </a:xfrm>
                  <a:prstGeom prst="star5">
                    <a:avLst/>
                  </a:prstGeom>
                  <a:solidFill>
                    <a:sysClr val="window" lastClr="FFFFFF"/>
                  </a:solidFill>
                  <a:ln w="12700" cap="rnd" cmpd="sng" algn="ctr">
                    <a:noFill/>
                    <a:prstDash val="solid"/>
                    <a:round/>
                  </a:ln>
                  <a:effectLst/>
                </p:spPr>
                <p:txBody>
                  <a:bodyPr rtlCol="0" anchor="ctr"/>
                  <a:lstStyle/>
                  <a:p>
                    <a:pPr algn="ctr" defTabSz="586130">
                      <a:defRPr/>
                    </a:pPr>
                    <a:endParaRPr lang="en-US" sz="2400" kern="0">
                      <a:solidFill>
                        <a:schemeClr val="tx1">
                          <a:lumMod val="50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pic>
                <p:nvPicPr>
                  <p:cNvPr id="101" name="Picture 100">
                    <a:extLst>
                      <a:ext uri="{FF2B5EF4-FFF2-40B4-BE49-F238E27FC236}">
                        <a16:creationId xmlns:a16="http://schemas.microsoft.com/office/drawing/2014/main" id="{9E0E8B93-905F-4543-A649-DA9C317F051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screen">
                    <a:biLevel thresh="50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0465965" y="3008"/>
                    <a:ext cx="232922" cy="232922"/>
                  </a:xfrm>
                  <a:prstGeom prst="rect">
                    <a:avLst/>
                  </a:prstGeom>
                </p:spPr>
              </p:pic>
              <p:pic>
                <p:nvPicPr>
                  <p:cNvPr id="102" name="Graphic 7" descr="Register">
                    <a:extLst>
                      <a:ext uri="{FF2B5EF4-FFF2-40B4-BE49-F238E27FC236}">
                        <a16:creationId xmlns:a16="http://schemas.microsoft.com/office/drawing/2014/main" id="{499E0823-BEEE-4F63-A413-559236D1919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803992" y="222660"/>
                    <a:ext cx="271214" cy="271214"/>
                  </a:xfrm>
                  <a:prstGeom prst="rect">
                    <a:avLst/>
                  </a:prstGeom>
                </p:spPr>
              </p:pic>
              <p:pic>
                <p:nvPicPr>
                  <p:cNvPr id="103" name="Picture 102"/>
                  <p:cNvPicPr>
                    <a:picLocks noChangeAspect="1"/>
                  </p:cNvPicPr>
                  <p:nvPr/>
                </p:nvPicPr>
                <p:blipFill rotWithShape="1">
                  <a:blip r:embed="rId13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920676" y="-108084"/>
                    <a:ext cx="268456" cy="279915"/>
                  </a:xfrm>
                  <a:prstGeom prst="rect">
                    <a:avLst/>
                  </a:prstGeom>
                </p:spPr>
              </p:pic>
              <p:pic>
                <p:nvPicPr>
                  <p:cNvPr id="104" name="Picture 103"/>
                  <p:cNvPicPr>
                    <a:picLocks noChangeAspect="1"/>
                  </p:cNvPicPr>
                  <p:nvPr/>
                </p:nvPicPr>
                <p:blipFill rotWithShape="1">
                  <a:blip r:embed="rId14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BEBA8EAE-BF5A-486C-A8C5-ECC9F3942E4B}">
                        <a14:imgProps xmlns:a14="http://schemas.microsoft.com/office/drawing/2010/main">
                          <a14:imgLayer r:embed="rId15">
                            <a14:imgEffect>
                              <a14:saturation sat="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11092866" y="161580"/>
                    <a:ext cx="392554" cy="392554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105" name="Picture 104"/>
                  <p:cNvPicPr>
                    <a:picLocks noChangeAspect="1"/>
                  </p:cNvPicPr>
                  <p:nvPr/>
                </p:nvPicPr>
                <p:blipFill rotWithShape="1">
                  <a:blip r:embed="rId16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10430498" y="649657"/>
                    <a:ext cx="233824" cy="228189"/>
                  </a:xfrm>
                  <a:prstGeom prst="rect">
                    <a:avLst/>
                  </a:prstGeom>
                </p:spPr>
              </p:pic>
              <p:pic>
                <p:nvPicPr>
                  <p:cNvPr id="106" name="Picture 8" descr="Image result for technology icon">
                    <a:extLst>
                      <a:ext uri="{FF2B5EF4-FFF2-40B4-BE49-F238E27FC236}">
                        <a16:creationId xmlns:a16="http://schemas.microsoft.com/office/drawing/2014/main" id="{E56DF1BA-1A83-41B4-B165-EC34E8B1B824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7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9457880" y="106507"/>
                    <a:ext cx="331202" cy="25489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07" name="Picture 106"/>
                  <p:cNvPicPr>
                    <a:picLocks noChangeAspect="1"/>
                  </p:cNvPicPr>
                  <p:nvPr/>
                </p:nvPicPr>
                <p:blipFill rotWithShape="1">
                  <a:blip r:embed="rId18" cstate="screen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8601680" y="-44266"/>
                    <a:ext cx="237044" cy="204508"/>
                  </a:xfrm>
                  <a:prstGeom prst="rect">
                    <a:avLst/>
                  </a:prstGeom>
                </p:spPr>
              </p:pic>
              <p:sp>
                <p:nvSpPr>
                  <p:cNvPr id="108" name="Freeform 16"/>
                  <p:cNvSpPr>
                    <a:spLocks noChangeArrowheads="1"/>
                  </p:cNvSpPr>
                  <p:nvPr/>
                </p:nvSpPr>
                <p:spPr bwMode="auto">
                  <a:xfrm>
                    <a:off x="6347026" y="79255"/>
                    <a:ext cx="188305" cy="240521"/>
                  </a:xfrm>
                  <a:custGeom>
                    <a:avLst/>
                    <a:gdLst>
                      <a:gd name="T0" fmla="*/ 406 w 657"/>
                      <a:gd name="T1" fmla="*/ 947 h 1032"/>
                      <a:gd name="T2" fmla="*/ 333 w 657"/>
                      <a:gd name="T3" fmla="*/ 1031 h 1032"/>
                      <a:gd name="T4" fmla="*/ 250 w 657"/>
                      <a:gd name="T5" fmla="*/ 947 h 1032"/>
                      <a:gd name="T6" fmla="*/ 448 w 657"/>
                      <a:gd name="T7" fmla="*/ 916 h 1032"/>
                      <a:gd name="T8" fmla="*/ 198 w 657"/>
                      <a:gd name="T9" fmla="*/ 833 h 1032"/>
                      <a:gd name="T10" fmla="*/ 656 w 657"/>
                      <a:gd name="T11" fmla="*/ 333 h 1032"/>
                      <a:gd name="T12" fmla="*/ 562 w 657"/>
                      <a:gd name="T13" fmla="*/ 562 h 1032"/>
                      <a:gd name="T14" fmla="*/ 531 w 657"/>
                      <a:gd name="T15" fmla="*/ 635 h 1032"/>
                      <a:gd name="T16" fmla="*/ 500 w 657"/>
                      <a:gd name="T17" fmla="*/ 708 h 1032"/>
                      <a:gd name="T18" fmla="*/ 500 w 657"/>
                      <a:gd name="T19" fmla="*/ 729 h 1032"/>
                      <a:gd name="T20" fmla="*/ 166 w 657"/>
                      <a:gd name="T21" fmla="*/ 791 h 1032"/>
                      <a:gd name="T22" fmla="*/ 156 w 657"/>
                      <a:gd name="T23" fmla="*/ 708 h 1032"/>
                      <a:gd name="T24" fmla="*/ 135 w 657"/>
                      <a:gd name="T25" fmla="*/ 635 h 1032"/>
                      <a:gd name="T26" fmla="*/ 93 w 657"/>
                      <a:gd name="T27" fmla="*/ 552 h 1032"/>
                      <a:gd name="T28" fmla="*/ 0 w 657"/>
                      <a:gd name="T29" fmla="*/ 333 h 1032"/>
                      <a:gd name="T30" fmla="*/ 333 w 657"/>
                      <a:gd name="T31" fmla="*/ 0 h 1032"/>
                      <a:gd name="T32" fmla="*/ 656 w 657"/>
                      <a:gd name="T33" fmla="*/ 333 h 1032"/>
                      <a:gd name="T34" fmla="*/ 510 w 657"/>
                      <a:gd name="T35" fmla="*/ 156 h 1032"/>
                      <a:gd name="T36" fmla="*/ 156 w 657"/>
                      <a:gd name="T37" fmla="*/ 156 h 1032"/>
                      <a:gd name="T38" fmla="*/ 146 w 657"/>
                      <a:gd name="T39" fmla="*/ 499 h 1032"/>
                      <a:gd name="T40" fmla="*/ 166 w 657"/>
                      <a:gd name="T41" fmla="*/ 541 h 1032"/>
                      <a:gd name="T42" fmla="*/ 229 w 657"/>
                      <a:gd name="T43" fmla="*/ 666 h 1032"/>
                      <a:gd name="T44" fmla="*/ 427 w 657"/>
                      <a:gd name="T45" fmla="*/ 718 h 1032"/>
                      <a:gd name="T46" fmla="*/ 458 w 657"/>
                      <a:gd name="T47" fmla="*/ 604 h 1032"/>
                      <a:gd name="T48" fmla="*/ 510 w 657"/>
                      <a:gd name="T49" fmla="*/ 520 h 1032"/>
                      <a:gd name="T50" fmla="*/ 583 w 657"/>
                      <a:gd name="T51" fmla="*/ 333 h 1032"/>
                      <a:gd name="T52" fmla="*/ 354 w 657"/>
                      <a:gd name="T53" fmla="*/ 354 h 1032"/>
                      <a:gd name="T54" fmla="*/ 302 w 657"/>
                      <a:gd name="T55" fmla="*/ 354 h 1032"/>
                      <a:gd name="T56" fmla="*/ 239 w 657"/>
                      <a:gd name="T57" fmla="*/ 354 h 1032"/>
                      <a:gd name="T58" fmla="*/ 250 w 657"/>
                      <a:gd name="T59" fmla="*/ 499 h 1032"/>
                      <a:gd name="T60" fmla="*/ 302 w 657"/>
                      <a:gd name="T61" fmla="*/ 499 h 1032"/>
                      <a:gd name="T62" fmla="*/ 364 w 657"/>
                      <a:gd name="T63" fmla="*/ 499 h 1032"/>
                      <a:gd name="T64" fmla="*/ 416 w 657"/>
                      <a:gd name="T65" fmla="*/ 499 h 1032"/>
                      <a:gd name="T66" fmla="*/ 427 w 657"/>
                      <a:gd name="T67" fmla="*/ 354 h 1032"/>
                      <a:gd name="T68" fmla="*/ 385 w 657"/>
                      <a:gd name="T69" fmla="*/ 416 h 10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657" h="1032">
                        <a:moveTo>
                          <a:pt x="250" y="947"/>
                        </a:moveTo>
                        <a:cubicBezTo>
                          <a:pt x="406" y="947"/>
                          <a:pt x="406" y="947"/>
                          <a:pt x="406" y="947"/>
                        </a:cubicBezTo>
                        <a:cubicBezTo>
                          <a:pt x="406" y="968"/>
                          <a:pt x="396" y="989"/>
                          <a:pt x="385" y="1010"/>
                        </a:cubicBezTo>
                        <a:cubicBezTo>
                          <a:pt x="364" y="1020"/>
                          <a:pt x="354" y="1031"/>
                          <a:pt x="333" y="1031"/>
                        </a:cubicBezTo>
                        <a:cubicBezTo>
                          <a:pt x="312" y="1031"/>
                          <a:pt x="291" y="1020"/>
                          <a:pt x="281" y="1010"/>
                        </a:cubicBezTo>
                        <a:cubicBezTo>
                          <a:pt x="260" y="989"/>
                          <a:pt x="250" y="968"/>
                          <a:pt x="250" y="947"/>
                        </a:cubicBezTo>
                        <a:close/>
                        <a:moveTo>
                          <a:pt x="208" y="916"/>
                        </a:moveTo>
                        <a:cubicBezTo>
                          <a:pt x="448" y="916"/>
                          <a:pt x="448" y="916"/>
                          <a:pt x="448" y="916"/>
                        </a:cubicBezTo>
                        <a:cubicBezTo>
                          <a:pt x="458" y="833"/>
                          <a:pt x="458" y="833"/>
                          <a:pt x="458" y="833"/>
                        </a:cubicBezTo>
                        <a:cubicBezTo>
                          <a:pt x="198" y="833"/>
                          <a:pt x="198" y="833"/>
                          <a:pt x="198" y="833"/>
                        </a:cubicBezTo>
                        <a:lnTo>
                          <a:pt x="208" y="916"/>
                        </a:lnTo>
                        <a:close/>
                        <a:moveTo>
                          <a:pt x="656" y="333"/>
                        </a:moveTo>
                        <a:cubicBezTo>
                          <a:pt x="656" y="416"/>
                          <a:pt x="625" y="489"/>
                          <a:pt x="573" y="552"/>
                        </a:cubicBezTo>
                        <a:lnTo>
                          <a:pt x="562" y="562"/>
                        </a:lnTo>
                        <a:cubicBezTo>
                          <a:pt x="562" y="562"/>
                          <a:pt x="562" y="572"/>
                          <a:pt x="552" y="572"/>
                        </a:cubicBezTo>
                        <a:cubicBezTo>
                          <a:pt x="541" y="593"/>
                          <a:pt x="541" y="614"/>
                          <a:pt x="531" y="635"/>
                        </a:cubicBezTo>
                        <a:cubicBezTo>
                          <a:pt x="521" y="656"/>
                          <a:pt x="510" y="677"/>
                          <a:pt x="510" y="697"/>
                        </a:cubicBezTo>
                        <a:cubicBezTo>
                          <a:pt x="500" y="697"/>
                          <a:pt x="500" y="697"/>
                          <a:pt x="500" y="708"/>
                        </a:cubicBezTo>
                        <a:lnTo>
                          <a:pt x="500" y="718"/>
                        </a:lnTo>
                        <a:cubicBezTo>
                          <a:pt x="500" y="729"/>
                          <a:pt x="500" y="729"/>
                          <a:pt x="500" y="729"/>
                        </a:cubicBezTo>
                        <a:cubicBezTo>
                          <a:pt x="500" y="791"/>
                          <a:pt x="500" y="791"/>
                          <a:pt x="500" y="791"/>
                        </a:cubicBezTo>
                        <a:cubicBezTo>
                          <a:pt x="166" y="791"/>
                          <a:pt x="166" y="791"/>
                          <a:pt x="166" y="791"/>
                        </a:cubicBezTo>
                        <a:cubicBezTo>
                          <a:pt x="166" y="729"/>
                          <a:pt x="166" y="729"/>
                          <a:pt x="166" y="729"/>
                        </a:cubicBezTo>
                        <a:cubicBezTo>
                          <a:pt x="166" y="718"/>
                          <a:pt x="156" y="718"/>
                          <a:pt x="156" y="708"/>
                        </a:cubicBezTo>
                        <a:lnTo>
                          <a:pt x="156" y="697"/>
                        </a:lnTo>
                        <a:cubicBezTo>
                          <a:pt x="146" y="677"/>
                          <a:pt x="146" y="656"/>
                          <a:pt x="135" y="635"/>
                        </a:cubicBezTo>
                        <a:cubicBezTo>
                          <a:pt x="125" y="614"/>
                          <a:pt x="114" y="593"/>
                          <a:pt x="104" y="572"/>
                        </a:cubicBezTo>
                        <a:cubicBezTo>
                          <a:pt x="93" y="562"/>
                          <a:pt x="93" y="562"/>
                          <a:pt x="93" y="552"/>
                        </a:cubicBezTo>
                        <a:lnTo>
                          <a:pt x="83" y="552"/>
                        </a:lnTo>
                        <a:cubicBezTo>
                          <a:pt x="31" y="489"/>
                          <a:pt x="0" y="416"/>
                          <a:pt x="0" y="333"/>
                        </a:cubicBezTo>
                        <a:cubicBezTo>
                          <a:pt x="0" y="239"/>
                          <a:pt x="31" y="166"/>
                          <a:pt x="104" y="104"/>
                        </a:cubicBezTo>
                        <a:cubicBezTo>
                          <a:pt x="166" y="31"/>
                          <a:pt x="239" y="0"/>
                          <a:pt x="333" y="0"/>
                        </a:cubicBezTo>
                        <a:cubicBezTo>
                          <a:pt x="416" y="0"/>
                          <a:pt x="500" y="31"/>
                          <a:pt x="562" y="104"/>
                        </a:cubicBezTo>
                        <a:cubicBezTo>
                          <a:pt x="625" y="166"/>
                          <a:pt x="656" y="239"/>
                          <a:pt x="656" y="333"/>
                        </a:cubicBezTo>
                        <a:close/>
                        <a:moveTo>
                          <a:pt x="583" y="333"/>
                        </a:moveTo>
                        <a:cubicBezTo>
                          <a:pt x="583" y="260"/>
                          <a:pt x="562" y="198"/>
                          <a:pt x="510" y="156"/>
                        </a:cubicBezTo>
                        <a:cubicBezTo>
                          <a:pt x="458" y="104"/>
                          <a:pt x="396" y="83"/>
                          <a:pt x="333" y="83"/>
                        </a:cubicBezTo>
                        <a:cubicBezTo>
                          <a:pt x="260" y="83"/>
                          <a:pt x="198" y="104"/>
                          <a:pt x="156" y="156"/>
                        </a:cubicBezTo>
                        <a:cubicBezTo>
                          <a:pt x="104" y="198"/>
                          <a:pt x="73" y="260"/>
                          <a:pt x="73" y="333"/>
                        </a:cubicBezTo>
                        <a:cubicBezTo>
                          <a:pt x="73" y="396"/>
                          <a:pt x="93" y="448"/>
                          <a:pt x="146" y="499"/>
                        </a:cubicBezTo>
                        <a:cubicBezTo>
                          <a:pt x="146" y="499"/>
                          <a:pt x="146" y="510"/>
                          <a:pt x="156" y="510"/>
                        </a:cubicBezTo>
                        <a:cubicBezTo>
                          <a:pt x="156" y="520"/>
                          <a:pt x="166" y="531"/>
                          <a:pt x="166" y="541"/>
                        </a:cubicBezTo>
                        <a:cubicBezTo>
                          <a:pt x="177" y="562"/>
                          <a:pt x="187" y="583"/>
                          <a:pt x="198" y="604"/>
                        </a:cubicBezTo>
                        <a:cubicBezTo>
                          <a:pt x="208" y="624"/>
                          <a:pt x="218" y="645"/>
                          <a:pt x="229" y="666"/>
                        </a:cubicBezTo>
                        <a:cubicBezTo>
                          <a:pt x="229" y="697"/>
                          <a:pt x="239" y="708"/>
                          <a:pt x="239" y="718"/>
                        </a:cubicBezTo>
                        <a:cubicBezTo>
                          <a:pt x="427" y="718"/>
                          <a:pt x="427" y="718"/>
                          <a:pt x="427" y="718"/>
                        </a:cubicBezTo>
                        <a:cubicBezTo>
                          <a:pt x="427" y="708"/>
                          <a:pt x="427" y="697"/>
                          <a:pt x="437" y="666"/>
                        </a:cubicBezTo>
                        <a:cubicBezTo>
                          <a:pt x="437" y="645"/>
                          <a:pt x="448" y="624"/>
                          <a:pt x="458" y="604"/>
                        </a:cubicBezTo>
                        <a:cubicBezTo>
                          <a:pt x="468" y="583"/>
                          <a:pt x="479" y="562"/>
                          <a:pt x="489" y="541"/>
                        </a:cubicBezTo>
                        <a:cubicBezTo>
                          <a:pt x="489" y="531"/>
                          <a:pt x="500" y="520"/>
                          <a:pt x="510" y="520"/>
                        </a:cubicBezTo>
                        <a:cubicBezTo>
                          <a:pt x="510" y="510"/>
                          <a:pt x="510" y="499"/>
                          <a:pt x="521" y="499"/>
                        </a:cubicBezTo>
                        <a:cubicBezTo>
                          <a:pt x="562" y="448"/>
                          <a:pt x="583" y="396"/>
                          <a:pt x="583" y="333"/>
                        </a:cubicBezTo>
                        <a:close/>
                        <a:moveTo>
                          <a:pt x="385" y="416"/>
                        </a:moveTo>
                        <a:cubicBezTo>
                          <a:pt x="354" y="354"/>
                          <a:pt x="354" y="354"/>
                          <a:pt x="354" y="354"/>
                        </a:cubicBezTo>
                        <a:cubicBezTo>
                          <a:pt x="333" y="302"/>
                          <a:pt x="333" y="302"/>
                          <a:pt x="333" y="302"/>
                        </a:cubicBezTo>
                        <a:cubicBezTo>
                          <a:pt x="302" y="354"/>
                          <a:pt x="302" y="354"/>
                          <a:pt x="302" y="354"/>
                        </a:cubicBezTo>
                        <a:cubicBezTo>
                          <a:pt x="271" y="416"/>
                          <a:pt x="271" y="416"/>
                          <a:pt x="271" y="416"/>
                        </a:cubicBezTo>
                        <a:cubicBezTo>
                          <a:pt x="239" y="354"/>
                          <a:pt x="239" y="354"/>
                          <a:pt x="239" y="354"/>
                        </a:cubicBezTo>
                        <a:cubicBezTo>
                          <a:pt x="187" y="385"/>
                          <a:pt x="187" y="385"/>
                          <a:pt x="187" y="385"/>
                        </a:cubicBezTo>
                        <a:cubicBezTo>
                          <a:pt x="250" y="499"/>
                          <a:pt x="250" y="499"/>
                          <a:pt x="250" y="499"/>
                        </a:cubicBezTo>
                        <a:cubicBezTo>
                          <a:pt x="271" y="552"/>
                          <a:pt x="271" y="552"/>
                          <a:pt x="271" y="552"/>
                        </a:cubicBezTo>
                        <a:cubicBezTo>
                          <a:pt x="302" y="499"/>
                          <a:pt x="302" y="499"/>
                          <a:pt x="302" y="499"/>
                        </a:cubicBezTo>
                        <a:cubicBezTo>
                          <a:pt x="333" y="437"/>
                          <a:pt x="333" y="437"/>
                          <a:pt x="333" y="437"/>
                        </a:cubicBezTo>
                        <a:cubicBezTo>
                          <a:pt x="364" y="499"/>
                          <a:pt x="364" y="499"/>
                          <a:pt x="364" y="499"/>
                        </a:cubicBezTo>
                        <a:cubicBezTo>
                          <a:pt x="385" y="552"/>
                          <a:pt x="385" y="552"/>
                          <a:pt x="385" y="552"/>
                        </a:cubicBezTo>
                        <a:cubicBezTo>
                          <a:pt x="416" y="499"/>
                          <a:pt x="416" y="499"/>
                          <a:pt x="416" y="499"/>
                        </a:cubicBezTo>
                        <a:cubicBezTo>
                          <a:pt x="479" y="385"/>
                          <a:pt x="479" y="385"/>
                          <a:pt x="479" y="385"/>
                        </a:cubicBezTo>
                        <a:cubicBezTo>
                          <a:pt x="427" y="354"/>
                          <a:pt x="427" y="354"/>
                          <a:pt x="427" y="354"/>
                        </a:cubicBezTo>
                        <a:lnTo>
                          <a:pt x="385" y="416"/>
                        </a:lnTo>
                        <a:close/>
                        <a:moveTo>
                          <a:pt x="385" y="416"/>
                        </a:moveTo>
                        <a:lnTo>
                          <a:pt x="385" y="416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wrap="none" lIns="243852" tIns="121926" rIns="243852" bIns="121926" anchor="ctr"/>
                  <a:lstStyle/>
                  <a:p>
                    <a:pPr>
                      <a:defRPr/>
                    </a:pPr>
                    <a:endParaRPr lang="en-US">
                      <a:latin typeface="Trebuchet MS" panose="020B0703020202090204" pitchFamily="34" charset="0"/>
                      <a:cs typeface="Roboto Light"/>
                    </a:endParaRPr>
                  </a:p>
                </p:txBody>
              </p:sp>
              <p:cxnSp>
                <p:nvCxnSpPr>
                  <p:cNvPr id="109" name="Straight Connector 108"/>
                  <p:cNvCxnSpPr>
                    <a:stCxn id="81" idx="0"/>
                    <a:endCxn id="82" idx="3"/>
                  </p:cNvCxnSpPr>
                  <p:nvPr/>
                </p:nvCxnSpPr>
                <p:spPr>
                  <a:xfrm>
                    <a:off x="9149976" y="879166"/>
                    <a:ext cx="613869" cy="18153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Straight Connector 109"/>
                  <p:cNvCxnSpPr/>
                  <p:nvPr/>
                </p:nvCxnSpPr>
                <p:spPr>
                  <a:xfrm flipV="1">
                    <a:off x="10212928" y="792611"/>
                    <a:ext cx="132319" cy="64172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Straight Connector 110"/>
                  <p:cNvCxnSpPr/>
                  <p:nvPr/>
                </p:nvCxnSpPr>
                <p:spPr>
                  <a:xfrm>
                    <a:off x="5691172" y="649668"/>
                    <a:ext cx="174153" cy="137172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2" name="Freeform 5">
                    <a:extLst>
                      <a:ext uri="{FF2B5EF4-FFF2-40B4-BE49-F238E27FC236}">
                        <a16:creationId xmlns:a16="http://schemas.microsoft.com/office/drawing/2014/main" id="{D912DAFC-009B-40B9-9959-1AD073E80FC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472331" y="1060805"/>
                    <a:ext cx="183202" cy="324241"/>
                  </a:xfrm>
                  <a:custGeom>
                    <a:avLst/>
                    <a:gdLst>
                      <a:gd name="T0" fmla="*/ 300 w 387"/>
                      <a:gd name="T1" fmla="*/ 0 h 614"/>
                      <a:gd name="T2" fmla="*/ 282 w 387"/>
                      <a:gd name="T3" fmla="*/ 0 h 614"/>
                      <a:gd name="T4" fmla="*/ 87 w 387"/>
                      <a:gd name="T5" fmla="*/ 0 h 614"/>
                      <a:gd name="T6" fmla="*/ 0 w 387"/>
                      <a:gd name="T7" fmla="*/ 88 h 614"/>
                      <a:gd name="T8" fmla="*/ 0 w 387"/>
                      <a:gd name="T9" fmla="*/ 526 h 614"/>
                      <a:gd name="T10" fmla="*/ 87 w 387"/>
                      <a:gd name="T11" fmla="*/ 614 h 614"/>
                      <a:gd name="T12" fmla="*/ 282 w 387"/>
                      <a:gd name="T13" fmla="*/ 614 h 614"/>
                      <a:gd name="T14" fmla="*/ 300 w 387"/>
                      <a:gd name="T15" fmla="*/ 614 h 614"/>
                      <a:gd name="T16" fmla="*/ 387 w 387"/>
                      <a:gd name="T17" fmla="*/ 526 h 614"/>
                      <a:gd name="T18" fmla="*/ 387 w 387"/>
                      <a:gd name="T19" fmla="*/ 88 h 614"/>
                      <a:gd name="T20" fmla="*/ 300 w 387"/>
                      <a:gd name="T21" fmla="*/ 0 h 6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7" h="614">
                        <a:moveTo>
                          <a:pt x="300" y="0"/>
                        </a:moveTo>
                        <a:cubicBezTo>
                          <a:pt x="282" y="0"/>
                          <a:pt x="282" y="0"/>
                          <a:pt x="282" y="0"/>
                        </a:cubicBezTo>
                        <a:cubicBezTo>
                          <a:pt x="87" y="0"/>
                          <a:pt x="87" y="0"/>
                          <a:pt x="87" y="0"/>
                        </a:cubicBezTo>
                        <a:cubicBezTo>
                          <a:pt x="39" y="0"/>
                          <a:pt x="0" y="39"/>
                          <a:pt x="0" y="88"/>
                        </a:cubicBezTo>
                        <a:cubicBezTo>
                          <a:pt x="0" y="526"/>
                          <a:pt x="0" y="526"/>
                          <a:pt x="0" y="526"/>
                        </a:cubicBezTo>
                        <a:cubicBezTo>
                          <a:pt x="0" y="575"/>
                          <a:pt x="39" y="614"/>
                          <a:pt x="87" y="614"/>
                        </a:cubicBezTo>
                        <a:cubicBezTo>
                          <a:pt x="282" y="614"/>
                          <a:pt x="282" y="614"/>
                          <a:pt x="282" y="614"/>
                        </a:cubicBezTo>
                        <a:cubicBezTo>
                          <a:pt x="300" y="614"/>
                          <a:pt x="300" y="614"/>
                          <a:pt x="300" y="614"/>
                        </a:cubicBezTo>
                        <a:cubicBezTo>
                          <a:pt x="348" y="614"/>
                          <a:pt x="387" y="575"/>
                          <a:pt x="387" y="526"/>
                        </a:cubicBezTo>
                        <a:cubicBezTo>
                          <a:pt x="387" y="88"/>
                          <a:pt x="387" y="88"/>
                          <a:pt x="387" y="88"/>
                        </a:cubicBezTo>
                        <a:cubicBezTo>
                          <a:pt x="387" y="39"/>
                          <a:pt x="348" y="0"/>
                          <a:pt x="300" y="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86130">
                      <a:defRPr/>
                    </a:pPr>
                    <a:endParaRPr lang="en-US" sz="2400" kern="0">
                      <a:solidFill>
                        <a:schemeClr val="tx1">
                          <a:lumMod val="50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3" name="Rectangle 6">
                    <a:extLst>
                      <a:ext uri="{FF2B5EF4-FFF2-40B4-BE49-F238E27FC236}">
                        <a16:creationId xmlns:a16="http://schemas.microsoft.com/office/drawing/2014/main" id="{666963A0-2CC1-413D-A389-C714B280BBA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486556" y="1109789"/>
                    <a:ext cx="154543" cy="222315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86130">
                      <a:defRPr/>
                    </a:pPr>
                    <a:endParaRPr lang="en-US" sz="2400" kern="0">
                      <a:solidFill>
                        <a:schemeClr val="tx1">
                          <a:lumMod val="50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4" name="Freeform 7">
                    <a:extLst>
                      <a:ext uri="{FF2B5EF4-FFF2-40B4-BE49-F238E27FC236}">
                        <a16:creationId xmlns:a16="http://schemas.microsoft.com/office/drawing/2014/main" id="{8D9DEEF8-791D-44C2-8946-CD40542D6A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536780" y="1076039"/>
                    <a:ext cx="54304" cy="21072"/>
                  </a:xfrm>
                  <a:custGeom>
                    <a:avLst/>
                    <a:gdLst>
                      <a:gd name="T0" fmla="*/ 108 w 115"/>
                      <a:gd name="T1" fmla="*/ 0 h 14"/>
                      <a:gd name="T2" fmla="*/ 94 w 115"/>
                      <a:gd name="T3" fmla="*/ 0 h 14"/>
                      <a:gd name="T4" fmla="*/ 7 w 115"/>
                      <a:gd name="T5" fmla="*/ 0 h 14"/>
                      <a:gd name="T6" fmla="*/ 0 w 115"/>
                      <a:gd name="T7" fmla="*/ 7 h 14"/>
                      <a:gd name="T8" fmla="*/ 7 w 115"/>
                      <a:gd name="T9" fmla="*/ 14 h 14"/>
                      <a:gd name="T10" fmla="*/ 94 w 115"/>
                      <a:gd name="T11" fmla="*/ 14 h 14"/>
                      <a:gd name="T12" fmla="*/ 108 w 115"/>
                      <a:gd name="T13" fmla="*/ 14 h 14"/>
                      <a:gd name="T14" fmla="*/ 115 w 115"/>
                      <a:gd name="T15" fmla="*/ 7 h 14"/>
                      <a:gd name="T16" fmla="*/ 108 w 115"/>
                      <a:gd name="T17" fmla="*/ 0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5" h="14">
                        <a:moveTo>
                          <a:pt x="108" y="0"/>
                        </a:move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3" y="0"/>
                          <a:pt x="0" y="4"/>
                          <a:pt x="0" y="7"/>
                        </a:cubicBezTo>
                        <a:cubicBezTo>
                          <a:pt x="0" y="11"/>
                          <a:pt x="3" y="14"/>
                          <a:pt x="7" y="14"/>
                        </a:cubicBezTo>
                        <a:cubicBezTo>
                          <a:pt x="94" y="14"/>
                          <a:pt x="94" y="14"/>
                          <a:pt x="94" y="14"/>
                        </a:cubicBezTo>
                        <a:cubicBezTo>
                          <a:pt x="108" y="14"/>
                          <a:pt x="108" y="14"/>
                          <a:pt x="108" y="14"/>
                        </a:cubicBezTo>
                        <a:cubicBezTo>
                          <a:pt x="112" y="14"/>
                          <a:pt x="115" y="11"/>
                          <a:pt x="115" y="7"/>
                        </a:cubicBezTo>
                        <a:cubicBezTo>
                          <a:pt x="115" y="4"/>
                          <a:pt x="112" y="0"/>
                          <a:pt x="108" y="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86130">
                      <a:defRPr/>
                    </a:pPr>
                    <a:endParaRPr lang="en-US" sz="2400" kern="0">
                      <a:solidFill>
                        <a:schemeClr val="tx1">
                          <a:lumMod val="50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5" name="Freeform 8">
                    <a:extLst>
                      <a:ext uri="{FF2B5EF4-FFF2-40B4-BE49-F238E27FC236}">
                        <a16:creationId xmlns:a16="http://schemas.microsoft.com/office/drawing/2014/main" id="{92080E07-06DC-46B0-A428-265879B13D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536780" y="1342926"/>
                    <a:ext cx="54304" cy="21072"/>
                  </a:xfrm>
                  <a:custGeom>
                    <a:avLst/>
                    <a:gdLst>
                      <a:gd name="T0" fmla="*/ 90 w 115"/>
                      <a:gd name="T1" fmla="*/ 0 h 49"/>
                      <a:gd name="T2" fmla="*/ 77 w 115"/>
                      <a:gd name="T3" fmla="*/ 0 h 49"/>
                      <a:gd name="T4" fmla="*/ 25 w 115"/>
                      <a:gd name="T5" fmla="*/ 0 h 49"/>
                      <a:gd name="T6" fmla="*/ 0 w 115"/>
                      <a:gd name="T7" fmla="*/ 24 h 49"/>
                      <a:gd name="T8" fmla="*/ 25 w 115"/>
                      <a:gd name="T9" fmla="*/ 49 h 49"/>
                      <a:gd name="T10" fmla="*/ 77 w 115"/>
                      <a:gd name="T11" fmla="*/ 49 h 49"/>
                      <a:gd name="T12" fmla="*/ 90 w 115"/>
                      <a:gd name="T13" fmla="*/ 49 h 49"/>
                      <a:gd name="T14" fmla="*/ 115 w 115"/>
                      <a:gd name="T15" fmla="*/ 24 h 49"/>
                      <a:gd name="T16" fmla="*/ 90 w 115"/>
                      <a:gd name="T17" fmla="*/ 0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5" h="49">
                        <a:moveTo>
                          <a:pt x="90" y="0"/>
                        </a:moveTo>
                        <a:cubicBezTo>
                          <a:pt x="77" y="0"/>
                          <a:pt x="77" y="0"/>
                          <a:pt x="77" y="0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cubicBezTo>
                          <a:pt x="11" y="0"/>
                          <a:pt x="0" y="11"/>
                          <a:pt x="0" y="24"/>
                        </a:cubicBezTo>
                        <a:cubicBezTo>
                          <a:pt x="0" y="38"/>
                          <a:pt x="11" y="49"/>
                          <a:pt x="25" y="49"/>
                        </a:cubicBezTo>
                        <a:cubicBezTo>
                          <a:pt x="77" y="49"/>
                          <a:pt x="77" y="49"/>
                          <a:pt x="77" y="49"/>
                        </a:cubicBezTo>
                        <a:cubicBezTo>
                          <a:pt x="90" y="49"/>
                          <a:pt x="90" y="49"/>
                          <a:pt x="90" y="49"/>
                        </a:cubicBezTo>
                        <a:cubicBezTo>
                          <a:pt x="104" y="49"/>
                          <a:pt x="115" y="38"/>
                          <a:pt x="115" y="24"/>
                        </a:cubicBezTo>
                        <a:cubicBezTo>
                          <a:pt x="115" y="11"/>
                          <a:pt x="104" y="0"/>
                          <a:pt x="90" y="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86130">
                      <a:defRPr/>
                    </a:pPr>
                    <a:endParaRPr lang="en-US" sz="2400" kern="0">
                      <a:solidFill>
                        <a:schemeClr val="tx1">
                          <a:lumMod val="50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6" name="Freeform 13">
                    <a:extLst>
                      <a:ext uri="{FF2B5EF4-FFF2-40B4-BE49-F238E27FC236}">
                        <a16:creationId xmlns:a16="http://schemas.microsoft.com/office/drawing/2014/main" id="{2D1565EB-B4EC-4890-9E5A-B4EB349F6A2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1500587" y="1185998"/>
                    <a:ext cx="116609" cy="107027"/>
                  </a:xfrm>
                  <a:custGeom>
                    <a:avLst/>
                    <a:gdLst>
                      <a:gd name="T0" fmla="*/ 190 w 193"/>
                      <a:gd name="T1" fmla="*/ 39 h 175"/>
                      <a:gd name="T2" fmla="*/ 183 w 193"/>
                      <a:gd name="T3" fmla="*/ 35 h 175"/>
                      <a:gd name="T4" fmla="*/ 54 w 193"/>
                      <a:gd name="T5" fmla="*/ 35 h 175"/>
                      <a:gd name="T6" fmla="*/ 48 w 193"/>
                      <a:gd name="T7" fmla="*/ 0 h 175"/>
                      <a:gd name="T8" fmla="*/ 9 w 193"/>
                      <a:gd name="T9" fmla="*/ 0 h 175"/>
                      <a:gd name="T10" fmla="*/ 0 w 193"/>
                      <a:gd name="T11" fmla="*/ 9 h 175"/>
                      <a:gd name="T12" fmla="*/ 9 w 193"/>
                      <a:gd name="T13" fmla="*/ 18 h 175"/>
                      <a:gd name="T14" fmla="*/ 33 w 193"/>
                      <a:gd name="T15" fmla="*/ 18 h 175"/>
                      <a:gd name="T16" fmla="*/ 49 w 193"/>
                      <a:gd name="T17" fmla="*/ 117 h 175"/>
                      <a:gd name="T18" fmla="*/ 58 w 193"/>
                      <a:gd name="T19" fmla="*/ 124 h 175"/>
                      <a:gd name="T20" fmla="*/ 172 w 193"/>
                      <a:gd name="T21" fmla="*/ 124 h 175"/>
                      <a:gd name="T22" fmla="*/ 181 w 193"/>
                      <a:gd name="T23" fmla="*/ 116 h 175"/>
                      <a:gd name="T24" fmla="*/ 192 w 193"/>
                      <a:gd name="T25" fmla="*/ 46 h 175"/>
                      <a:gd name="T26" fmla="*/ 190 w 193"/>
                      <a:gd name="T27" fmla="*/ 39 h 175"/>
                      <a:gd name="T28" fmla="*/ 88 w 193"/>
                      <a:gd name="T29" fmla="*/ 106 h 175"/>
                      <a:gd name="T30" fmla="*/ 65 w 193"/>
                      <a:gd name="T31" fmla="*/ 106 h 175"/>
                      <a:gd name="T32" fmla="*/ 62 w 193"/>
                      <a:gd name="T33" fmla="*/ 85 h 175"/>
                      <a:gd name="T34" fmla="*/ 88 w 193"/>
                      <a:gd name="T35" fmla="*/ 85 h 175"/>
                      <a:gd name="T36" fmla="*/ 88 w 193"/>
                      <a:gd name="T37" fmla="*/ 106 h 175"/>
                      <a:gd name="T38" fmla="*/ 88 w 193"/>
                      <a:gd name="T39" fmla="*/ 74 h 175"/>
                      <a:gd name="T40" fmla="*/ 60 w 193"/>
                      <a:gd name="T41" fmla="*/ 74 h 175"/>
                      <a:gd name="T42" fmla="*/ 57 w 193"/>
                      <a:gd name="T43" fmla="*/ 53 h 175"/>
                      <a:gd name="T44" fmla="*/ 88 w 193"/>
                      <a:gd name="T45" fmla="*/ 53 h 175"/>
                      <a:gd name="T46" fmla="*/ 88 w 193"/>
                      <a:gd name="T47" fmla="*/ 74 h 175"/>
                      <a:gd name="T48" fmla="*/ 130 w 193"/>
                      <a:gd name="T49" fmla="*/ 106 h 175"/>
                      <a:gd name="T50" fmla="*/ 99 w 193"/>
                      <a:gd name="T51" fmla="*/ 106 h 175"/>
                      <a:gd name="T52" fmla="*/ 99 w 193"/>
                      <a:gd name="T53" fmla="*/ 85 h 175"/>
                      <a:gd name="T54" fmla="*/ 130 w 193"/>
                      <a:gd name="T55" fmla="*/ 85 h 175"/>
                      <a:gd name="T56" fmla="*/ 130 w 193"/>
                      <a:gd name="T57" fmla="*/ 106 h 175"/>
                      <a:gd name="T58" fmla="*/ 130 w 193"/>
                      <a:gd name="T59" fmla="*/ 74 h 175"/>
                      <a:gd name="T60" fmla="*/ 99 w 193"/>
                      <a:gd name="T61" fmla="*/ 74 h 175"/>
                      <a:gd name="T62" fmla="*/ 99 w 193"/>
                      <a:gd name="T63" fmla="*/ 53 h 175"/>
                      <a:gd name="T64" fmla="*/ 130 w 193"/>
                      <a:gd name="T65" fmla="*/ 53 h 175"/>
                      <a:gd name="T66" fmla="*/ 130 w 193"/>
                      <a:gd name="T67" fmla="*/ 74 h 175"/>
                      <a:gd name="T68" fmla="*/ 164 w 193"/>
                      <a:gd name="T69" fmla="*/ 106 h 175"/>
                      <a:gd name="T70" fmla="*/ 142 w 193"/>
                      <a:gd name="T71" fmla="*/ 106 h 175"/>
                      <a:gd name="T72" fmla="*/ 142 w 193"/>
                      <a:gd name="T73" fmla="*/ 85 h 175"/>
                      <a:gd name="T74" fmla="*/ 168 w 193"/>
                      <a:gd name="T75" fmla="*/ 85 h 175"/>
                      <a:gd name="T76" fmla="*/ 164 w 193"/>
                      <a:gd name="T77" fmla="*/ 106 h 175"/>
                      <a:gd name="T78" fmla="*/ 169 w 193"/>
                      <a:gd name="T79" fmla="*/ 74 h 175"/>
                      <a:gd name="T80" fmla="*/ 142 w 193"/>
                      <a:gd name="T81" fmla="*/ 74 h 175"/>
                      <a:gd name="T82" fmla="*/ 142 w 193"/>
                      <a:gd name="T83" fmla="*/ 53 h 175"/>
                      <a:gd name="T84" fmla="*/ 173 w 193"/>
                      <a:gd name="T85" fmla="*/ 53 h 175"/>
                      <a:gd name="T86" fmla="*/ 169 w 193"/>
                      <a:gd name="T87" fmla="*/ 74 h 175"/>
                      <a:gd name="T88" fmla="*/ 143 w 193"/>
                      <a:gd name="T89" fmla="*/ 136 h 175"/>
                      <a:gd name="T90" fmla="*/ 123 w 193"/>
                      <a:gd name="T91" fmla="*/ 156 h 175"/>
                      <a:gd name="T92" fmla="*/ 143 w 193"/>
                      <a:gd name="T93" fmla="*/ 175 h 175"/>
                      <a:gd name="T94" fmla="*/ 162 w 193"/>
                      <a:gd name="T95" fmla="*/ 156 h 175"/>
                      <a:gd name="T96" fmla="*/ 143 w 193"/>
                      <a:gd name="T97" fmla="*/ 136 h 175"/>
                      <a:gd name="T98" fmla="*/ 85 w 193"/>
                      <a:gd name="T99" fmla="*/ 136 h 175"/>
                      <a:gd name="T100" fmla="*/ 65 w 193"/>
                      <a:gd name="T101" fmla="*/ 156 h 175"/>
                      <a:gd name="T102" fmla="*/ 85 w 193"/>
                      <a:gd name="T103" fmla="*/ 175 h 175"/>
                      <a:gd name="T104" fmla="*/ 104 w 193"/>
                      <a:gd name="T105" fmla="*/ 156 h 175"/>
                      <a:gd name="T106" fmla="*/ 85 w 193"/>
                      <a:gd name="T107" fmla="*/ 136 h 1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193" h="175">
                        <a:moveTo>
                          <a:pt x="190" y="39"/>
                        </a:moveTo>
                        <a:cubicBezTo>
                          <a:pt x="189" y="37"/>
                          <a:pt x="186" y="35"/>
                          <a:pt x="183" y="35"/>
                        </a:cubicBezTo>
                        <a:cubicBezTo>
                          <a:pt x="54" y="35"/>
                          <a:pt x="54" y="35"/>
                          <a:pt x="54" y="35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cubicBezTo>
                          <a:pt x="9" y="0"/>
                          <a:pt x="9" y="0"/>
                          <a:pt x="9" y="0"/>
                        </a:cubicBezTo>
                        <a:cubicBezTo>
                          <a:pt x="4" y="0"/>
                          <a:pt x="0" y="4"/>
                          <a:pt x="0" y="9"/>
                        </a:cubicBezTo>
                        <a:cubicBezTo>
                          <a:pt x="0" y="14"/>
                          <a:pt x="4" y="18"/>
                          <a:pt x="9" y="18"/>
                        </a:cubicBezTo>
                        <a:cubicBezTo>
                          <a:pt x="33" y="18"/>
                          <a:pt x="33" y="18"/>
                          <a:pt x="33" y="18"/>
                        </a:cubicBezTo>
                        <a:cubicBezTo>
                          <a:pt x="33" y="18"/>
                          <a:pt x="49" y="117"/>
                          <a:pt x="49" y="117"/>
                        </a:cubicBezTo>
                        <a:cubicBezTo>
                          <a:pt x="50" y="121"/>
                          <a:pt x="53" y="124"/>
                          <a:pt x="58" y="124"/>
                        </a:cubicBezTo>
                        <a:cubicBezTo>
                          <a:pt x="172" y="124"/>
                          <a:pt x="172" y="124"/>
                          <a:pt x="172" y="124"/>
                        </a:cubicBezTo>
                        <a:cubicBezTo>
                          <a:pt x="176" y="124"/>
                          <a:pt x="180" y="121"/>
                          <a:pt x="181" y="116"/>
                        </a:cubicBezTo>
                        <a:cubicBezTo>
                          <a:pt x="192" y="46"/>
                          <a:pt x="192" y="46"/>
                          <a:pt x="192" y="46"/>
                        </a:cubicBezTo>
                        <a:cubicBezTo>
                          <a:pt x="193" y="43"/>
                          <a:pt x="192" y="41"/>
                          <a:pt x="190" y="39"/>
                        </a:cubicBezTo>
                        <a:close/>
                        <a:moveTo>
                          <a:pt x="88" y="106"/>
                        </a:moveTo>
                        <a:cubicBezTo>
                          <a:pt x="65" y="106"/>
                          <a:pt x="65" y="106"/>
                          <a:pt x="65" y="106"/>
                        </a:cubicBezTo>
                        <a:cubicBezTo>
                          <a:pt x="62" y="85"/>
                          <a:pt x="62" y="85"/>
                          <a:pt x="62" y="85"/>
                        </a:cubicBezTo>
                        <a:cubicBezTo>
                          <a:pt x="88" y="85"/>
                          <a:pt x="88" y="85"/>
                          <a:pt x="88" y="85"/>
                        </a:cubicBezTo>
                        <a:lnTo>
                          <a:pt x="88" y="106"/>
                        </a:lnTo>
                        <a:close/>
                        <a:moveTo>
                          <a:pt x="88" y="74"/>
                        </a:moveTo>
                        <a:cubicBezTo>
                          <a:pt x="60" y="74"/>
                          <a:pt x="60" y="74"/>
                          <a:pt x="60" y="74"/>
                        </a:cubicBezTo>
                        <a:cubicBezTo>
                          <a:pt x="57" y="53"/>
                          <a:pt x="57" y="53"/>
                          <a:pt x="57" y="53"/>
                        </a:cubicBezTo>
                        <a:cubicBezTo>
                          <a:pt x="88" y="53"/>
                          <a:pt x="88" y="53"/>
                          <a:pt x="88" y="53"/>
                        </a:cubicBezTo>
                        <a:lnTo>
                          <a:pt x="88" y="74"/>
                        </a:lnTo>
                        <a:close/>
                        <a:moveTo>
                          <a:pt x="130" y="106"/>
                        </a:moveTo>
                        <a:cubicBezTo>
                          <a:pt x="99" y="106"/>
                          <a:pt x="99" y="106"/>
                          <a:pt x="99" y="106"/>
                        </a:cubicBezTo>
                        <a:cubicBezTo>
                          <a:pt x="99" y="85"/>
                          <a:pt x="99" y="85"/>
                          <a:pt x="99" y="85"/>
                        </a:cubicBezTo>
                        <a:cubicBezTo>
                          <a:pt x="130" y="85"/>
                          <a:pt x="130" y="85"/>
                          <a:pt x="130" y="85"/>
                        </a:cubicBezTo>
                        <a:lnTo>
                          <a:pt x="130" y="106"/>
                        </a:lnTo>
                        <a:close/>
                        <a:moveTo>
                          <a:pt x="130" y="74"/>
                        </a:moveTo>
                        <a:cubicBezTo>
                          <a:pt x="99" y="74"/>
                          <a:pt x="99" y="74"/>
                          <a:pt x="99" y="74"/>
                        </a:cubicBezTo>
                        <a:cubicBezTo>
                          <a:pt x="99" y="53"/>
                          <a:pt x="99" y="53"/>
                          <a:pt x="99" y="53"/>
                        </a:cubicBezTo>
                        <a:cubicBezTo>
                          <a:pt x="130" y="53"/>
                          <a:pt x="130" y="53"/>
                          <a:pt x="130" y="53"/>
                        </a:cubicBezTo>
                        <a:lnTo>
                          <a:pt x="130" y="74"/>
                        </a:lnTo>
                        <a:close/>
                        <a:moveTo>
                          <a:pt x="164" y="106"/>
                        </a:moveTo>
                        <a:cubicBezTo>
                          <a:pt x="142" y="106"/>
                          <a:pt x="142" y="106"/>
                          <a:pt x="142" y="106"/>
                        </a:cubicBezTo>
                        <a:cubicBezTo>
                          <a:pt x="142" y="85"/>
                          <a:pt x="142" y="85"/>
                          <a:pt x="142" y="85"/>
                        </a:cubicBezTo>
                        <a:cubicBezTo>
                          <a:pt x="168" y="85"/>
                          <a:pt x="168" y="85"/>
                          <a:pt x="168" y="85"/>
                        </a:cubicBezTo>
                        <a:lnTo>
                          <a:pt x="164" y="106"/>
                        </a:lnTo>
                        <a:close/>
                        <a:moveTo>
                          <a:pt x="169" y="74"/>
                        </a:moveTo>
                        <a:cubicBezTo>
                          <a:pt x="142" y="74"/>
                          <a:pt x="142" y="74"/>
                          <a:pt x="142" y="74"/>
                        </a:cubicBezTo>
                        <a:cubicBezTo>
                          <a:pt x="142" y="53"/>
                          <a:pt x="142" y="53"/>
                          <a:pt x="142" y="53"/>
                        </a:cubicBezTo>
                        <a:cubicBezTo>
                          <a:pt x="173" y="53"/>
                          <a:pt x="173" y="53"/>
                          <a:pt x="173" y="53"/>
                        </a:cubicBezTo>
                        <a:lnTo>
                          <a:pt x="169" y="74"/>
                        </a:lnTo>
                        <a:close/>
                        <a:moveTo>
                          <a:pt x="143" y="136"/>
                        </a:moveTo>
                        <a:cubicBezTo>
                          <a:pt x="132" y="136"/>
                          <a:pt x="123" y="145"/>
                          <a:pt x="123" y="156"/>
                        </a:cubicBezTo>
                        <a:cubicBezTo>
                          <a:pt x="123" y="167"/>
                          <a:pt x="132" y="175"/>
                          <a:pt x="143" y="175"/>
                        </a:cubicBezTo>
                        <a:cubicBezTo>
                          <a:pt x="153" y="175"/>
                          <a:pt x="162" y="167"/>
                          <a:pt x="162" y="156"/>
                        </a:cubicBezTo>
                        <a:cubicBezTo>
                          <a:pt x="162" y="145"/>
                          <a:pt x="153" y="136"/>
                          <a:pt x="143" y="136"/>
                        </a:cubicBezTo>
                        <a:close/>
                        <a:moveTo>
                          <a:pt x="85" y="136"/>
                        </a:moveTo>
                        <a:cubicBezTo>
                          <a:pt x="74" y="136"/>
                          <a:pt x="65" y="145"/>
                          <a:pt x="65" y="156"/>
                        </a:cubicBezTo>
                        <a:cubicBezTo>
                          <a:pt x="65" y="167"/>
                          <a:pt x="74" y="175"/>
                          <a:pt x="85" y="175"/>
                        </a:cubicBezTo>
                        <a:cubicBezTo>
                          <a:pt x="95" y="175"/>
                          <a:pt x="104" y="167"/>
                          <a:pt x="104" y="156"/>
                        </a:cubicBezTo>
                        <a:cubicBezTo>
                          <a:pt x="104" y="145"/>
                          <a:pt x="95" y="136"/>
                          <a:pt x="85" y="136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020">
                      <a:defRPr/>
                    </a:pPr>
                    <a:endParaRPr lang="en-US" sz="2400" kern="0">
                      <a:solidFill>
                        <a:schemeClr val="tx1">
                          <a:lumMod val="50000"/>
                        </a:schemeClr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7" name="Freeform 103"/>
                  <p:cNvSpPr>
                    <a:spLocks noEditPoints="1"/>
                  </p:cNvSpPr>
                  <p:nvPr/>
                </p:nvSpPr>
                <p:spPr bwMode="auto">
                  <a:xfrm>
                    <a:off x="5425558" y="424408"/>
                    <a:ext cx="196598" cy="198102"/>
                  </a:xfrm>
                  <a:custGeom>
                    <a:avLst/>
                    <a:gdLst>
                      <a:gd name="T0" fmla="*/ 526 w 805"/>
                      <a:gd name="T1" fmla="*/ 75 h 797"/>
                      <a:gd name="T2" fmla="*/ 399 w 805"/>
                      <a:gd name="T3" fmla="*/ 206 h 797"/>
                      <a:gd name="T4" fmla="*/ 507 w 805"/>
                      <a:gd name="T5" fmla="*/ 47 h 797"/>
                      <a:gd name="T6" fmla="*/ 609 w 805"/>
                      <a:gd name="T7" fmla="*/ 0 h 797"/>
                      <a:gd name="T8" fmla="*/ 751 w 805"/>
                      <a:gd name="T9" fmla="*/ 606 h 797"/>
                      <a:gd name="T10" fmla="*/ 701 w 805"/>
                      <a:gd name="T11" fmla="*/ 570 h 797"/>
                      <a:gd name="T12" fmla="*/ 709 w 805"/>
                      <a:gd name="T13" fmla="*/ 514 h 797"/>
                      <a:gd name="T14" fmla="*/ 731 w 805"/>
                      <a:gd name="T15" fmla="*/ 556 h 797"/>
                      <a:gd name="T16" fmla="*/ 370 w 805"/>
                      <a:gd name="T17" fmla="*/ 797 h 797"/>
                      <a:gd name="T18" fmla="*/ 287 w 805"/>
                      <a:gd name="T19" fmla="*/ 773 h 797"/>
                      <a:gd name="T20" fmla="*/ 258 w 805"/>
                      <a:gd name="T21" fmla="*/ 725 h 797"/>
                      <a:gd name="T22" fmla="*/ 270 w 805"/>
                      <a:gd name="T23" fmla="*/ 709 h 797"/>
                      <a:gd name="T24" fmla="*/ 370 w 805"/>
                      <a:gd name="T25" fmla="*/ 797 h 797"/>
                      <a:gd name="T26" fmla="*/ 77 w 805"/>
                      <a:gd name="T27" fmla="*/ 681 h 797"/>
                      <a:gd name="T28" fmla="*/ 153 w 805"/>
                      <a:gd name="T29" fmla="*/ 681 h 797"/>
                      <a:gd name="T30" fmla="*/ 120 w 805"/>
                      <a:gd name="T31" fmla="*/ 715 h 797"/>
                      <a:gd name="T32" fmla="*/ 61 w 805"/>
                      <a:gd name="T33" fmla="*/ 57 h 797"/>
                      <a:gd name="T34" fmla="*/ 43 w 805"/>
                      <a:gd name="T35" fmla="*/ 150 h 797"/>
                      <a:gd name="T36" fmla="*/ 24 w 805"/>
                      <a:gd name="T37" fmla="*/ 99 h 797"/>
                      <a:gd name="T38" fmla="*/ 172 w 805"/>
                      <a:gd name="T39" fmla="*/ 637 h 797"/>
                      <a:gd name="T40" fmla="*/ 0 w 805"/>
                      <a:gd name="T41" fmla="*/ 381 h 797"/>
                      <a:gd name="T42" fmla="*/ 52 w 805"/>
                      <a:gd name="T43" fmla="*/ 263 h 797"/>
                      <a:gd name="T44" fmla="*/ 87 w 805"/>
                      <a:gd name="T45" fmla="*/ 364 h 797"/>
                      <a:gd name="T46" fmla="*/ 210 w 805"/>
                      <a:gd name="T47" fmla="*/ 620 h 797"/>
                      <a:gd name="T48" fmla="*/ 221 w 805"/>
                      <a:gd name="T49" fmla="*/ 518 h 797"/>
                      <a:gd name="T50" fmla="*/ 311 w 805"/>
                      <a:gd name="T51" fmla="*/ 294 h 797"/>
                      <a:gd name="T52" fmla="*/ 254 w 805"/>
                      <a:gd name="T53" fmla="*/ 524 h 797"/>
                      <a:gd name="T54" fmla="*/ 223 w 805"/>
                      <a:gd name="T55" fmla="*/ 620 h 797"/>
                      <a:gd name="T56" fmla="*/ 274 w 805"/>
                      <a:gd name="T57" fmla="*/ 662 h 797"/>
                      <a:gd name="T58" fmla="*/ 609 w 805"/>
                      <a:gd name="T59" fmla="*/ 498 h 797"/>
                      <a:gd name="T60" fmla="*/ 632 w 805"/>
                      <a:gd name="T61" fmla="*/ 523 h 797"/>
                      <a:gd name="T62" fmla="*/ 275 w 805"/>
                      <a:gd name="T63" fmla="*/ 696 h 797"/>
                      <a:gd name="T64" fmla="*/ 274 w 805"/>
                      <a:gd name="T65" fmla="*/ 662 h 797"/>
                      <a:gd name="T66" fmla="*/ 484 w 805"/>
                      <a:gd name="T67" fmla="*/ 330 h 797"/>
                      <a:gd name="T68" fmla="*/ 403 w 805"/>
                      <a:gd name="T69" fmla="*/ 279 h 797"/>
                      <a:gd name="T70" fmla="*/ 525 w 805"/>
                      <a:gd name="T71" fmla="*/ 254 h 797"/>
                      <a:gd name="T72" fmla="*/ 638 w 805"/>
                      <a:gd name="T73" fmla="*/ 415 h 797"/>
                      <a:gd name="T74" fmla="*/ 694 w 805"/>
                      <a:gd name="T75" fmla="*/ 416 h 797"/>
                      <a:gd name="T76" fmla="*/ 682 w 805"/>
                      <a:gd name="T77" fmla="*/ 343 h 797"/>
                      <a:gd name="T78" fmla="*/ 795 w 805"/>
                      <a:gd name="T79" fmla="*/ 428 h 797"/>
                      <a:gd name="T80" fmla="*/ 718 w 805"/>
                      <a:gd name="T81" fmla="*/ 439 h 797"/>
                      <a:gd name="T82" fmla="*/ 694 w 805"/>
                      <a:gd name="T83" fmla="*/ 416 h 797"/>
                      <a:gd name="T84" fmla="*/ 103 w 805"/>
                      <a:gd name="T85" fmla="*/ 226 h 797"/>
                      <a:gd name="T86" fmla="*/ 101 w 805"/>
                      <a:gd name="T87" fmla="*/ 193 h 797"/>
                      <a:gd name="T88" fmla="*/ 293 w 805"/>
                      <a:gd name="T89" fmla="*/ 249 h 7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805" h="797">
                        <a:moveTo>
                          <a:pt x="557" y="120"/>
                        </a:moveTo>
                        <a:cubicBezTo>
                          <a:pt x="526" y="75"/>
                          <a:pt x="526" y="75"/>
                          <a:pt x="526" y="75"/>
                        </a:cubicBezTo>
                        <a:cubicBezTo>
                          <a:pt x="480" y="112"/>
                          <a:pt x="438" y="158"/>
                          <a:pt x="402" y="209"/>
                        </a:cubicBezTo>
                        <a:cubicBezTo>
                          <a:pt x="401" y="208"/>
                          <a:pt x="400" y="207"/>
                          <a:pt x="399" y="206"/>
                        </a:cubicBezTo>
                        <a:cubicBezTo>
                          <a:pt x="392" y="199"/>
                          <a:pt x="384" y="194"/>
                          <a:pt x="374" y="191"/>
                        </a:cubicBezTo>
                        <a:cubicBezTo>
                          <a:pt x="413" y="136"/>
                          <a:pt x="457" y="87"/>
                          <a:pt x="507" y="47"/>
                        </a:cubicBezTo>
                        <a:cubicBezTo>
                          <a:pt x="478" y="4"/>
                          <a:pt x="478" y="4"/>
                          <a:pt x="478" y="4"/>
                        </a:cubicBezTo>
                        <a:cubicBezTo>
                          <a:pt x="609" y="0"/>
                          <a:pt x="609" y="0"/>
                          <a:pt x="609" y="0"/>
                        </a:cubicBezTo>
                        <a:cubicBezTo>
                          <a:pt x="557" y="120"/>
                          <a:pt x="557" y="120"/>
                          <a:pt x="557" y="120"/>
                        </a:cubicBezTo>
                        <a:close/>
                        <a:moveTo>
                          <a:pt x="751" y="606"/>
                        </a:moveTo>
                        <a:cubicBezTo>
                          <a:pt x="743" y="617"/>
                          <a:pt x="735" y="628"/>
                          <a:pt x="726" y="638"/>
                        </a:cubicBezTo>
                        <a:cubicBezTo>
                          <a:pt x="719" y="615"/>
                          <a:pt x="711" y="592"/>
                          <a:pt x="701" y="570"/>
                        </a:cubicBezTo>
                        <a:cubicBezTo>
                          <a:pt x="695" y="557"/>
                          <a:pt x="688" y="543"/>
                          <a:pt x="681" y="530"/>
                        </a:cubicBezTo>
                        <a:cubicBezTo>
                          <a:pt x="692" y="527"/>
                          <a:pt x="701" y="522"/>
                          <a:pt x="709" y="514"/>
                        </a:cubicBezTo>
                        <a:cubicBezTo>
                          <a:pt x="710" y="513"/>
                          <a:pt x="710" y="513"/>
                          <a:pt x="710" y="513"/>
                        </a:cubicBezTo>
                        <a:cubicBezTo>
                          <a:pt x="717" y="527"/>
                          <a:pt x="725" y="542"/>
                          <a:pt x="731" y="556"/>
                        </a:cubicBezTo>
                        <a:cubicBezTo>
                          <a:pt x="739" y="572"/>
                          <a:pt x="745" y="589"/>
                          <a:pt x="751" y="606"/>
                        </a:cubicBezTo>
                        <a:close/>
                        <a:moveTo>
                          <a:pt x="370" y="797"/>
                        </a:moveTo>
                        <a:cubicBezTo>
                          <a:pt x="349" y="796"/>
                          <a:pt x="328" y="794"/>
                          <a:pt x="308" y="791"/>
                        </a:cubicBezTo>
                        <a:cubicBezTo>
                          <a:pt x="301" y="785"/>
                          <a:pt x="294" y="779"/>
                          <a:pt x="287" y="773"/>
                        </a:cubicBezTo>
                        <a:cubicBezTo>
                          <a:pt x="273" y="761"/>
                          <a:pt x="260" y="748"/>
                          <a:pt x="247" y="734"/>
                        </a:cubicBezTo>
                        <a:cubicBezTo>
                          <a:pt x="251" y="731"/>
                          <a:pt x="255" y="728"/>
                          <a:pt x="258" y="725"/>
                        </a:cubicBezTo>
                        <a:cubicBezTo>
                          <a:pt x="260" y="723"/>
                          <a:pt x="260" y="723"/>
                          <a:pt x="260" y="723"/>
                        </a:cubicBezTo>
                        <a:cubicBezTo>
                          <a:pt x="264" y="719"/>
                          <a:pt x="267" y="714"/>
                          <a:pt x="270" y="709"/>
                        </a:cubicBezTo>
                        <a:cubicBezTo>
                          <a:pt x="283" y="723"/>
                          <a:pt x="296" y="736"/>
                          <a:pt x="309" y="749"/>
                        </a:cubicBezTo>
                        <a:cubicBezTo>
                          <a:pt x="329" y="766"/>
                          <a:pt x="349" y="782"/>
                          <a:pt x="370" y="797"/>
                        </a:cubicBezTo>
                        <a:close/>
                        <a:moveTo>
                          <a:pt x="120" y="715"/>
                        </a:moveTo>
                        <a:cubicBezTo>
                          <a:pt x="105" y="704"/>
                          <a:pt x="91" y="693"/>
                          <a:pt x="77" y="681"/>
                        </a:cubicBezTo>
                        <a:cubicBezTo>
                          <a:pt x="102" y="682"/>
                          <a:pt x="128" y="682"/>
                          <a:pt x="153" y="680"/>
                        </a:cubicBezTo>
                        <a:cubicBezTo>
                          <a:pt x="153" y="680"/>
                          <a:pt x="153" y="681"/>
                          <a:pt x="153" y="681"/>
                        </a:cubicBezTo>
                        <a:cubicBezTo>
                          <a:pt x="153" y="693"/>
                          <a:pt x="156" y="703"/>
                          <a:pt x="162" y="713"/>
                        </a:cubicBezTo>
                        <a:cubicBezTo>
                          <a:pt x="148" y="714"/>
                          <a:pt x="134" y="714"/>
                          <a:pt x="120" y="715"/>
                        </a:cubicBezTo>
                        <a:close/>
                        <a:moveTo>
                          <a:pt x="24" y="99"/>
                        </a:moveTo>
                        <a:cubicBezTo>
                          <a:pt x="35" y="85"/>
                          <a:pt x="48" y="71"/>
                          <a:pt x="61" y="57"/>
                        </a:cubicBezTo>
                        <a:cubicBezTo>
                          <a:pt x="57" y="88"/>
                          <a:pt x="56" y="120"/>
                          <a:pt x="56" y="152"/>
                        </a:cubicBezTo>
                        <a:cubicBezTo>
                          <a:pt x="52" y="151"/>
                          <a:pt x="47" y="150"/>
                          <a:pt x="43" y="150"/>
                        </a:cubicBezTo>
                        <a:cubicBezTo>
                          <a:pt x="36" y="150"/>
                          <a:pt x="29" y="152"/>
                          <a:pt x="23" y="154"/>
                        </a:cubicBezTo>
                        <a:cubicBezTo>
                          <a:pt x="23" y="135"/>
                          <a:pt x="23" y="117"/>
                          <a:pt x="24" y="99"/>
                        </a:cubicBezTo>
                        <a:close/>
                        <a:moveTo>
                          <a:pt x="200" y="621"/>
                        </a:moveTo>
                        <a:cubicBezTo>
                          <a:pt x="188" y="624"/>
                          <a:pt x="181" y="629"/>
                          <a:pt x="172" y="637"/>
                        </a:cubicBezTo>
                        <a:cubicBezTo>
                          <a:pt x="119" y="556"/>
                          <a:pt x="79" y="465"/>
                          <a:pt x="54" y="371"/>
                        </a:cubicBezTo>
                        <a:cubicBezTo>
                          <a:pt x="0" y="381"/>
                          <a:pt x="0" y="381"/>
                          <a:pt x="0" y="381"/>
                        </a:cubicBezTo>
                        <a:cubicBezTo>
                          <a:pt x="46" y="264"/>
                          <a:pt x="46" y="264"/>
                          <a:pt x="46" y="264"/>
                        </a:cubicBezTo>
                        <a:cubicBezTo>
                          <a:pt x="52" y="263"/>
                          <a:pt x="52" y="263"/>
                          <a:pt x="52" y="263"/>
                        </a:cubicBezTo>
                        <a:cubicBezTo>
                          <a:pt x="139" y="354"/>
                          <a:pt x="139" y="354"/>
                          <a:pt x="139" y="354"/>
                        </a:cubicBezTo>
                        <a:cubicBezTo>
                          <a:pt x="87" y="364"/>
                          <a:pt x="87" y="364"/>
                          <a:pt x="87" y="364"/>
                        </a:cubicBezTo>
                        <a:cubicBezTo>
                          <a:pt x="111" y="454"/>
                          <a:pt x="150" y="545"/>
                          <a:pt x="200" y="621"/>
                        </a:cubicBezTo>
                        <a:close/>
                        <a:moveTo>
                          <a:pt x="210" y="620"/>
                        </a:moveTo>
                        <a:cubicBezTo>
                          <a:pt x="165" y="508"/>
                          <a:pt x="165" y="508"/>
                          <a:pt x="165" y="508"/>
                        </a:cubicBezTo>
                        <a:cubicBezTo>
                          <a:pt x="221" y="518"/>
                          <a:pt x="221" y="518"/>
                          <a:pt x="221" y="518"/>
                        </a:cubicBezTo>
                        <a:cubicBezTo>
                          <a:pt x="242" y="443"/>
                          <a:pt x="272" y="366"/>
                          <a:pt x="311" y="293"/>
                        </a:cubicBezTo>
                        <a:cubicBezTo>
                          <a:pt x="311" y="294"/>
                          <a:pt x="311" y="294"/>
                          <a:pt x="311" y="294"/>
                        </a:cubicBezTo>
                        <a:cubicBezTo>
                          <a:pt x="319" y="301"/>
                          <a:pt x="329" y="307"/>
                          <a:pt x="340" y="310"/>
                        </a:cubicBezTo>
                        <a:cubicBezTo>
                          <a:pt x="303" y="379"/>
                          <a:pt x="274" y="453"/>
                          <a:pt x="254" y="524"/>
                        </a:cubicBezTo>
                        <a:cubicBezTo>
                          <a:pt x="304" y="533"/>
                          <a:pt x="304" y="533"/>
                          <a:pt x="304" y="533"/>
                        </a:cubicBezTo>
                        <a:cubicBezTo>
                          <a:pt x="223" y="620"/>
                          <a:pt x="223" y="620"/>
                          <a:pt x="223" y="620"/>
                        </a:cubicBezTo>
                        <a:cubicBezTo>
                          <a:pt x="210" y="620"/>
                          <a:pt x="210" y="620"/>
                          <a:pt x="210" y="620"/>
                        </a:cubicBezTo>
                        <a:close/>
                        <a:moveTo>
                          <a:pt x="274" y="662"/>
                        </a:moveTo>
                        <a:cubicBezTo>
                          <a:pt x="327" y="650"/>
                          <a:pt x="381" y="632"/>
                          <a:pt x="432" y="608"/>
                        </a:cubicBezTo>
                        <a:cubicBezTo>
                          <a:pt x="496" y="579"/>
                          <a:pt x="556" y="542"/>
                          <a:pt x="609" y="498"/>
                        </a:cubicBezTo>
                        <a:cubicBezTo>
                          <a:pt x="612" y="504"/>
                          <a:pt x="616" y="510"/>
                          <a:pt x="621" y="514"/>
                        </a:cubicBezTo>
                        <a:cubicBezTo>
                          <a:pt x="624" y="517"/>
                          <a:pt x="628" y="520"/>
                          <a:pt x="632" y="523"/>
                        </a:cubicBezTo>
                        <a:cubicBezTo>
                          <a:pt x="575" y="569"/>
                          <a:pt x="512" y="608"/>
                          <a:pt x="446" y="639"/>
                        </a:cubicBezTo>
                        <a:cubicBezTo>
                          <a:pt x="391" y="664"/>
                          <a:pt x="333" y="683"/>
                          <a:pt x="275" y="696"/>
                        </a:cubicBezTo>
                        <a:cubicBezTo>
                          <a:pt x="276" y="691"/>
                          <a:pt x="277" y="686"/>
                          <a:pt x="277" y="681"/>
                        </a:cubicBezTo>
                        <a:cubicBezTo>
                          <a:pt x="277" y="675"/>
                          <a:pt x="276" y="668"/>
                          <a:pt x="274" y="662"/>
                        </a:cubicBezTo>
                        <a:close/>
                        <a:moveTo>
                          <a:pt x="613" y="437"/>
                        </a:moveTo>
                        <a:cubicBezTo>
                          <a:pt x="576" y="396"/>
                          <a:pt x="533" y="360"/>
                          <a:pt x="484" y="330"/>
                        </a:cubicBezTo>
                        <a:cubicBezTo>
                          <a:pt x="458" y="378"/>
                          <a:pt x="458" y="378"/>
                          <a:pt x="458" y="378"/>
                        </a:cubicBezTo>
                        <a:cubicBezTo>
                          <a:pt x="403" y="279"/>
                          <a:pt x="403" y="279"/>
                          <a:pt x="403" y="279"/>
                        </a:cubicBezTo>
                        <a:cubicBezTo>
                          <a:pt x="411" y="262"/>
                          <a:pt x="411" y="262"/>
                          <a:pt x="411" y="262"/>
                        </a:cubicBezTo>
                        <a:cubicBezTo>
                          <a:pt x="525" y="254"/>
                          <a:pt x="525" y="254"/>
                          <a:pt x="525" y="254"/>
                        </a:cubicBezTo>
                        <a:cubicBezTo>
                          <a:pt x="500" y="301"/>
                          <a:pt x="500" y="301"/>
                          <a:pt x="500" y="301"/>
                        </a:cubicBezTo>
                        <a:cubicBezTo>
                          <a:pt x="552" y="333"/>
                          <a:pt x="599" y="371"/>
                          <a:pt x="638" y="415"/>
                        </a:cubicBezTo>
                        <a:cubicBezTo>
                          <a:pt x="628" y="420"/>
                          <a:pt x="619" y="427"/>
                          <a:pt x="613" y="437"/>
                        </a:cubicBezTo>
                        <a:close/>
                        <a:moveTo>
                          <a:pt x="694" y="416"/>
                        </a:moveTo>
                        <a:cubicBezTo>
                          <a:pt x="705" y="403"/>
                          <a:pt x="716" y="390"/>
                          <a:pt x="726" y="376"/>
                        </a:cubicBezTo>
                        <a:cubicBezTo>
                          <a:pt x="682" y="343"/>
                          <a:pt x="682" y="343"/>
                          <a:pt x="682" y="343"/>
                        </a:cubicBezTo>
                        <a:cubicBezTo>
                          <a:pt x="805" y="297"/>
                          <a:pt x="805" y="297"/>
                          <a:pt x="805" y="297"/>
                        </a:cubicBezTo>
                        <a:cubicBezTo>
                          <a:pt x="795" y="428"/>
                          <a:pt x="795" y="428"/>
                          <a:pt x="795" y="428"/>
                        </a:cubicBezTo>
                        <a:cubicBezTo>
                          <a:pt x="753" y="396"/>
                          <a:pt x="753" y="396"/>
                          <a:pt x="753" y="396"/>
                        </a:cubicBezTo>
                        <a:cubicBezTo>
                          <a:pt x="742" y="411"/>
                          <a:pt x="730" y="425"/>
                          <a:pt x="718" y="439"/>
                        </a:cubicBezTo>
                        <a:cubicBezTo>
                          <a:pt x="715" y="434"/>
                          <a:pt x="712" y="430"/>
                          <a:pt x="709" y="427"/>
                        </a:cubicBezTo>
                        <a:cubicBezTo>
                          <a:pt x="704" y="423"/>
                          <a:pt x="699" y="419"/>
                          <a:pt x="694" y="416"/>
                        </a:cubicBezTo>
                        <a:close/>
                        <a:moveTo>
                          <a:pt x="293" y="249"/>
                        </a:moveTo>
                        <a:cubicBezTo>
                          <a:pt x="233" y="233"/>
                          <a:pt x="169" y="225"/>
                          <a:pt x="103" y="226"/>
                        </a:cubicBezTo>
                        <a:cubicBezTo>
                          <a:pt x="104" y="222"/>
                          <a:pt x="105" y="217"/>
                          <a:pt x="105" y="212"/>
                        </a:cubicBezTo>
                        <a:cubicBezTo>
                          <a:pt x="105" y="205"/>
                          <a:pt x="103" y="199"/>
                          <a:pt x="101" y="193"/>
                        </a:cubicBezTo>
                        <a:cubicBezTo>
                          <a:pt x="172" y="192"/>
                          <a:pt x="239" y="200"/>
                          <a:pt x="303" y="217"/>
                        </a:cubicBezTo>
                        <a:cubicBezTo>
                          <a:pt x="297" y="226"/>
                          <a:pt x="294" y="237"/>
                          <a:pt x="293" y="249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AU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raphik" panose="020B0503030202060203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Freeform 104"/>
                  <p:cNvSpPr>
                    <a:spLocks noEditPoints="1"/>
                  </p:cNvSpPr>
                  <p:nvPr/>
                </p:nvSpPr>
                <p:spPr bwMode="auto">
                  <a:xfrm>
                    <a:off x="5395035" y="391198"/>
                    <a:ext cx="247027" cy="245793"/>
                  </a:xfrm>
                  <a:custGeom>
                    <a:avLst/>
                    <a:gdLst>
                      <a:gd name="T0" fmla="*/ 506 w 1012"/>
                      <a:gd name="T1" fmla="*/ 48 h 988"/>
                      <a:gd name="T2" fmla="*/ 48 w 1012"/>
                      <a:gd name="T3" fmla="*/ 494 h 988"/>
                      <a:gd name="T4" fmla="*/ 506 w 1012"/>
                      <a:gd name="T5" fmla="*/ 940 h 988"/>
                      <a:gd name="T6" fmla="*/ 964 w 1012"/>
                      <a:gd name="T7" fmla="*/ 494 h 988"/>
                      <a:gd name="T8" fmla="*/ 506 w 1012"/>
                      <a:gd name="T9" fmla="*/ 48 h 988"/>
                      <a:gd name="T10" fmla="*/ 506 w 1012"/>
                      <a:gd name="T11" fmla="*/ 0 h 988"/>
                      <a:gd name="T12" fmla="*/ 1012 w 1012"/>
                      <a:gd name="T13" fmla="*/ 494 h 988"/>
                      <a:gd name="T14" fmla="*/ 506 w 1012"/>
                      <a:gd name="T15" fmla="*/ 988 h 988"/>
                      <a:gd name="T16" fmla="*/ 0 w 1012"/>
                      <a:gd name="T17" fmla="*/ 494 h 988"/>
                      <a:gd name="T18" fmla="*/ 506 w 1012"/>
                      <a:gd name="T19" fmla="*/ 0 h 988"/>
                      <a:gd name="T20" fmla="*/ 340 w 1012"/>
                      <a:gd name="T21" fmla="*/ 846 h 988"/>
                      <a:gd name="T22" fmla="*/ 362 w 1012"/>
                      <a:gd name="T23" fmla="*/ 837 h 988"/>
                      <a:gd name="T24" fmla="*/ 362 w 1012"/>
                      <a:gd name="T25" fmla="*/ 837 h 988"/>
                      <a:gd name="T26" fmla="*/ 372 w 1012"/>
                      <a:gd name="T27" fmla="*/ 814 h 988"/>
                      <a:gd name="T28" fmla="*/ 362 w 1012"/>
                      <a:gd name="T29" fmla="*/ 792 h 988"/>
                      <a:gd name="T30" fmla="*/ 362 w 1012"/>
                      <a:gd name="T31" fmla="*/ 791 h 988"/>
                      <a:gd name="T32" fmla="*/ 340 w 1012"/>
                      <a:gd name="T33" fmla="*/ 782 h 988"/>
                      <a:gd name="T34" fmla="*/ 317 w 1012"/>
                      <a:gd name="T35" fmla="*/ 792 h 988"/>
                      <a:gd name="T36" fmla="*/ 308 w 1012"/>
                      <a:gd name="T37" fmla="*/ 814 h 988"/>
                      <a:gd name="T38" fmla="*/ 317 w 1012"/>
                      <a:gd name="T39" fmla="*/ 837 h 988"/>
                      <a:gd name="T40" fmla="*/ 340 w 1012"/>
                      <a:gd name="T41" fmla="*/ 846 h 988"/>
                      <a:gd name="T42" fmla="*/ 790 w 1012"/>
                      <a:gd name="T43" fmla="*/ 636 h 988"/>
                      <a:gd name="T44" fmla="*/ 813 w 1012"/>
                      <a:gd name="T45" fmla="*/ 626 h 988"/>
                      <a:gd name="T46" fmla="*/ 822 w 1012"/>
                      <a:gd name="T47" fmla="*/ 604 h 988"/>
                      <a:gd name="T48" fmla="*/ 813 w 1012"/>
                      <a:gd name="T49" fmla="*/ 581 h 988"/>
                      <a:gd name="T50" fmla="*/ 790 w 1012"/>
                      <a:gd name="T51" fmla="*/ 572 h 988"/>
                      <a:gd name="T52" fmla="*/ 767 w 1012"/>
                      <a:gd name="T53" fmla="*/ 581 h 988"/>
                      <a:gd name="T54" fmla="*/ 758 w 1012"/>
                      <a:gd name="T55" fmla="*/ 604 h 988"/>
                      <a:gd name="T56" fmla="*/ 767 w 1012"/>
                      <a:gd name="T57" fmla="*/ 626 h 988"/>
                      <a:gd name="T58" fmla="*/ 790 w 1012"/>
                      <a:gd name="T59" fmla="*/ 636 h 988"/>
                      <a:gd name="T60" fmla="*/ 480 w 1012"/>
                      <a:gd name="T61" fmla="*/ 415 h 988"/>
                      <a:gd name="T62" fmla="*/ 503 w 1012"/>
                      <a:gd name="T63" fmla="*/ 406 h 988"/>
                      <a:gd name="T64" fmla="*/ 503 w 1012"/>
                      <a:gd name="T65" fmla="*/ 405 h 988"/>
                      <a:gd name="T66" fmla="*/ 512 w 1012"/>
                      <a:gd name="T67" fmla="*/ 383 h 988"/>
                      <a:gd name="T68" fmla="*/ 503 w 1012"/>
                      <a:gd name="T69" fmla="*/ 360 h 988"/>
                      <a:gd name="T70" fmla="*/ 480 w 1012"/>
                      <a:gd name="T71" fmla="*/ 351 h 988"/>
                      <a:gd name="T72" fmla="*/ 457 w 1012"/>
                      <a:gd name="T73" fmla="*/ 360 h 988"/>
                      <a:gd name="T74" fmla="*/ 457 w 1012"/>
                      <a:gd name="T75" fmla="*/ 361 h 988"/>
                      <a:gd name="T76" fmla="*/ 448 w 1012"/>
                      <a:gd name="T77" fmla="*/ 383 h 988"/>
                      <a:gd name="T78" fmla="*/ 457 w 1012"/>
                      <a:gd name="T79" fmla="*/ 405 h 988"/>
                      <a:gd name="T80" fmla="*/ 480 w 1012"/>
                      <a:gd name="T81" fmla="*/ 415 h 988"/>
                      <a:gd name="T82" fmla="*/ 168 w 1012"/>
                      <a:gd name="T83" fmla="*/ 377 h 988"/>
                      <a:gd name="T84" fmla="*/ 190 w 1012"/>
                      <a:gd name="T85" fmla="*/ 368 h 988"/>
                      <a:gd name="T86" fmla="*/ 191 w 1012"/>
                      <a:gd name="T87" fmla="*/ 367 h 988"/>
                      <a:gd name="T88" fmla="*/ 200 w 1012"/>
                      <a:gd name="T89" fmla="*/ 345 h 988"/>
                      <a:gd name="T90" fmla="*/ 190 w 1012"/>
                      <a:gd name="T91" fmla="*/ 323 h 988"/>
                      <a:gd name="T92" fmla="*/ 168 w 1012"/>
                      <a:gd name="T93" fmla="*/ 313 h 988"/>
                      <a:gd name="T94" fmla="*/ 145 w 1012"/>
                      <a:gd name="T95" fmla="*/ 323 h 988"/>
                      <a:gd name="T96" fmla="*/ 145 w 1012"/>
                      <a:gd name="T97" fmla="*/ 323 h 988"/>
                      <a:gd name="T98" fmla="*/ 136 w 1012"/>
                      <a:gd name="T99" fmla="*/ 345 h 988"/>
                      <a:gd name="T100" fmla="*/ 145 w 1012"/>
                      <a:gd name="T101" fmla="*/ 368 h 988"/>
                      <a:gd name="T102" fmla="*/ 168 w 1012"/>
                      <a:gd name="T103" fmla="*/ 377 h 9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012" h="988">
                        <a:moveTo>
                          <a:pt x="506" y="48"/>
                        </a:moveTo>
                        <a:cubicBezTo>
                          <a:pt x="258" y="48"/>
                          <a:pt x="48" y="243"/>
                          <a:pt x="48" y="494"/>
                        </a:cubicBezTo>
                        <a:cubicBezTo>
                          <a:pt x="48" y="745"/>
                          <a:pt x="258" y="940"/>
                          <a:pt x="506" y="940"/>
                        </a:cubicBezTo>
                        <a:cubicBezTo>
                          <a:pt x="754" y="940"/>
                          <a:pt x="964" y="745"/>
                          <a:pt x="964" y="494"/>
                        </a:cubicBezTo>
                        <a:cubicBezTo>
                          <a:pt x="964" y="243"/>
                          <a:pt x="754" y="48"/>
                          <a:pt x="506" y="48"/>
                        </a:cubicBezTo>
                        <a:close/>
                        <a:moveTo>
                          <a:pt x="506" y="0"/>
                        </a:moveTo>
                        <a:cubicBezTo>
                          <a:pt x="785" y="0"/>
                          <a:pt x="1012" y="221"/>
                          <a:pt x="1012" y="494"/>
                        </a:cubicBezTo>
                        <a:cubicBezTo>
                          <a:pt x="1012" y="767"/>
                          <a:pt x="785" y="988"/>
                          <a:pt x="506" y="988"/>
                        </a:cubicBezTo>
                        <a:cubicBezTo>
                          <a:pt x="227" y="988"/>
                          <a:pt x="0" y="767"/>
                          <a:pt x="0" y="494"/>
                        </a:cubicBezTo>
                        <a:cubicBezTo>
                          <a:pt x="0" y="221"/>
                          <a:pt x="227" y="0"/>
                          <a:pt x="506" y="0"/>
                        </a:cubicBezTo>
                        <a:close/>
                        <a:moveTo>
                          <a:pt x="340" y="846"/>
                        </a:moveTo>
                        <a:cubicBezTo>
                          <a:pt x="349" y="846"/>
                          <a:pt x="357" y="843"/>
                          <a:pt x="362" y="837"/>
                        </a:cubicBezTo>
                        <a:cubicBezTo>
                          <a:pt x="362" y="837"/>
                          <a:pt x="362" y="837"/>
                          <a:pt x="362" y="837"/>
                        </a:cubicBezTo>
                        <a:cubicBezTo>
                          <a:pt x="368" y="831"/>
                          <a:pt x="372" y="823"/>
                          <a:pt x="372" y="814"/>
                        </a:cubicBezTo>
                        <a:cubicBezTo>
                          <a:pt x="372" y="805"/>
                          <a:pt x="368" y="797"/>
                          <a:pt x="362" y="792"/>
                        </a:cubicBezTo>
                        <a:cubicBezTo>
                          <a:pt x="362" y="791"/>
                          <a:pt x="362" y="791"/>
                          <a:pt x="362" y="791"/>
                        </a:cubicBezTo>
                        <a:cubicBezTo>
                          <a:pt x="356" y="785"/>
                          <a:pt x="348" y="782"/>
                          <a:pt x="340" y="782"/>
                        </a:cubicBezTo>
                        <a:cubicBezTo>
                          <a:pt x="331" y="782"/>
                          <a:pt x="323" y="786"/>
                          <a:pt x="317" y="792"/>
                        </a:cubicBezTo>
                        <a:cubicBezTo>
                          <a:pt x="311" y="797"/>
                          <a:pt x="308" y="805"/>
                          <a:pt x="308" y="814"/>
                        </a:cubicBezTo>
                        <a:cubicBezTo>
                          <a:pt x="308" y="823"/>
                          <a:pt x="311" y="831"/>
                          <a:pt x="317" y="837"/>
                        </a:cubicBezTo>
                        <a:cubicBezTo>
                          <a:pt x="323" y="843"/>
                          <a:pt x="331" y="846"/>
                          <a:pt x="340" y="846"/>
                        </a:cubicBezTo>
                        <a:close/>
                        <a:moveTo>
                          <a:pt x="790" y="636"/>
                        </a:moveTo>
                        <a:cubicBezTo>
                          <a:pt x="799" y="636"/>
                          <a:pt x="807" y="632"/>
                          <a:pt x="813" y="626"/>
                        </a:cubicBezTo>
                        <a:cubicBezTo>
                          <a:pt x="818" y="620"/>
                          <a:pt x="822" y="612"/>
                          <a:pt x="822" y="604"/>
                        </a:cubicBezTo>
                        <a:cubicBezTo>
                          <a:pt x="822" y="595"/>
                          <a:pt x="818" y="587"/>
                          <a:pt x="813" y="581"/>
                        </a:cubicBezTo>
                        <a:cubicBezTo>
                          <a:pt x="807" y="575"/>
                          <a:pt x="799" y="572"/>
                          <a:pt x="790" y="572"/>
                        </a:cubicBezTo>
                        <a:cubicBezTo>
                          <a:pt x="781" y="572"/>
                          <a:pt x="773" y="575"/>
                          <a:pt x="767" y="581"/>
                        </a:cubicBezTo>
                        <a:cubicBezTo>
                          <a:pt x="762" y="587"/>
                          <a:pt x="758" y="595"/>
                          <a:pt x="758" y="604"/>
                        </a:cubicBezTo>
                        <a:cubicBezTo>
                          <a:pt x="758" y="612"/>
                          <a:pt x="762" y="620"/>
                          <a:pt x="767" y="626"/>
                        </a:cubicBezTo>
                        <a:cubicBezTo>
                          <a:pt x="773" y="632"/>
                          <a:pt x="781" y="636"/>
                          <a:pt x="790" y="636"/>
                        </a:cubicBezTo>
                        <a:close/>
                        <a:moveTo>
                          <a:pt x="480" y="415"/>
                        </a:moveTo>
                        <a:cubicBezTo>
                          <a:pt x="489" y="415"/>
                          <a:pt x="497" y="411"/>
                          <a:pt x="503" y="406"/>
                        </a:cubicBezTo>
                        <a:cubicBezTo>
                          <a:pt x="503" y="405"/>
                          <a:pt x="503" y="405"/>
                          <a:pt x="503" y="405"/>
                        </a:cubicBezTo>
                        <a:cubicBezTo>
                          <a:pt x="509" y="400"/>
                          <a:pt x="512" y="392"/>
                          <a:pt x="512" y="383"/>
                        </a:cubicBezTo>
                        <a:cubicBezTo>
                          <a:pt x="512" y="374"/>
                          <a:pt x="509" y="366"/>
                          <a:pt x="503" y="360"/>
                        </a:cubicBezTo>
                        <a:cubicBezTo>
                          <a:pt x="497" y="354"/>
                          <a:pt x="489" y="351"/>
                          <a:pt x="480" y="351"/>
                        </a:cubicBezTo>
                        <a:cubicBezTo>
                          <a:pt x="471" y="351"/>
                          <a:pt x="463" y="354"/>
                          <a:pt x="457" y="360"/>
                        </a:cubicBezTo>
                        <a:cubicBezTo>
                          <a:pt x="457" y="361"/>
                          <a:pt x="457" y="361"/>
                          <a:pt x="457" y="361"/>
                        </a:cubicBezTo>
                        <a:cubicBezTo>
                          <a:pt x="451" y="367"/>
                          <a:pt x="448" y="374"/>
                          <a:pt x="448" y="383"/>
                        </a:cubicBezTo>
                        <a:cubicBezTo>
                          <a:pt x="448" y="392"/>
                          <a:pt x="452" y="400"/>
                          <a:pt x="457" y="405"/>
                        </a:cubicBezTo>
                        <a:cubicBezTo>
                          <a:pt x="463" y="411"/>
                          <a:pt x="471" y="415"/>
                          <a:pt x="480" y="415"/>
                        </a:cubicBezTo>
                        <a:close/>
                        <a:moveTo>
                          <a:pt x="168" y="377"/>
                        </a:moveTo>
                        <a:cubicBezTo>
                          <a:pt x="177" y="377"/>
                          <a:pt x="185" y="374"/>
                          <a:pt x="190" y="368"/>
                        </a:cubicBezTo>
                        <a:cubicBezTo>
                          <a:pt x="191" y="367"/>
                          <a:pt x="191" y="367"/>
                          <a:pt x="191" y="367"/>
                        </a:cubicBezTo>
                        <a:cubicBezTo>
                          <a:pt x="197" y="361"/>
                          <a:pt x="200" y="354"/>
                          <a:pt x="200" y="345"/>
                        </a:cubicBezTo>
                        <a:cubicBezTo>
                          <a:pt x="200" y="336"/>
                          <a:pt x="196" y="328"/>
                          <a:pt x="190" y="323"/>
                        </a:cubicBezTo>
                        <a:cubicBezTo>
                          <a:pt x="185" y="317"/>
                          <a:pt x="177" y="313"/>
                          <a:pt x="168" y="313"/>
                        </a:cubicBezTo>
                        <a:cubicBezTo>
                          <a:pt x="159" y="313"/>
                          <a:pt x="151" y="317"/>
                          <a:pt x="145" y="323"/>
                        </a:cubicBezTo>
                        <a:cubicBezTo>
                          <a:pt x="145" y="323"/>
                          <a:pt x="145" y="323"/>
                          <a:pt x="145" y="323"/>
                        </a:cubicBezTo>
                        <a:cubicBezTo>
                          <a:pt x="139" y="328"/>
                          <a:pt x="136" y="336"/>
                          <a:pt x="136" y="345"/>
                        </a:cubicBezTo>
                        <a:cubicBezTo>
                          <a:pt x="136" y="354"/>
                          <a:pt x="139" y="362"/>
                          <a:pt x="145" y="368"/>
                        </a:cubicBezTo>
                        <a:cubicBezTo>
                          <a:pt x="151" y="374"/>
                          <a:pt x="159" y="377"/>
                          <a:pt x="168" y="377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AU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raphik" panose="020B0503030202060203" pitchFamily="34" charset="0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119" name="Picture 6" descr="http://img.freepik.com/free-icon/line-chart_318-138765.jpg?size=338c&amp;ext=jpg">
                    <a:extLst>
                      <a:ext uri="{FF2B5EF4-FFF2-40B4-BE49-F238E27FC236}">
                        <a16:creationId xmlns:a16="http://schemas.microsoft.com/office/drawing/2014/main" id="{6C57416B-63B2-4DFB-85A4-D80DA072549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9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204129" y="466031"/>
                    <a:ext cx="246432" cy="22447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</p:grpSp>
        </p:grpSp>
        <p:sp>
          <p:nvSpPr>
            <p:cNvPr id="67" name="Rectangle 66"/>
            <p:cNvSpPr/>
            <p:nvPr userDrawn="1"/>
          </p:nvSpPr>
          <p:spPr>
            <a:xfrm>
              <a:off x="4811558" y="-5753"/>
              <a:ext cx="7370413" cy="1621588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/>
                <a:t>c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0610" y="263236"/>
            <a:ext cx="9144000" cy="29981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2600" b="1">
                <a:solidFill>
                  <a:srgbClr val="005B24"/>
                </a:solidFill>
                <a:latin typeface="HEINEKEN Core" panose="0200050305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0135" y="535344"/>
            <a:ext cx="9144000" cy="3103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100" b="1">
                <a:solidFill>
                  <a:srgbClr val="008742"/>
                </a:solidFill>
                <a:latin typeface="HEINEKEN Core" panose="0200050305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7318" y="6443412"/>
            <a:ext cx="370382" cy="344737"/>
          </a:xfrm>
        </p:spPr>
        <p:txBody>
          <a:bodyPr/>
          <a:lstStyle>
            <a:lvl1pPr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fld id="{903ED0E1-8506-469E-8C3A-3752BD8CE51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4289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27306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44">
          <p15:clr>
            <a:srgbClr val="CCCCCC"/>
          </p15:clr>
        </p15:guide>
        <p15:guide id="2" pos="7336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59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6C43255F-7387-4F1A-995F-95A1AC5E3154}"/>
              </a:ext>
            </a:extLst>
          </p:cNvPr>
          <p:cNvSpPr/>
          <p:nvPr userDrawn="1"/>
        </p:nvSpPr>
        <p:spPr bwMode="ltGray">
          <a:xfrm>
            <a:off x="6620302" y="0"/>
            <a:ext cx="5571699" cy="6858000"/>
          </a:xfrm>
          <a:prstGeom prst="rect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481F8346-A606-4C61-8F7C-1EDB260332E0}"/>
              </a:ext>
            </a:extLst>
          </p:cNvPr>
          <p:cNvSpPr/>
          <p:nvPr userDrawn="1"/>
        </p:nvSpPr>
        <p:spPr bwMode="ltGray">
          <a:xfrm>
            <a:off x="0" y="0"/>
            <a:ext cx="6620301" cy="6858000"/>
          </a:xfrm>
          <a:custGeom>
            <a:avLst/>
            <a:gdLst/>
            <a:ahLst/>
            <a:cxnLst/>
            <a:rect l="l" t="t" r="r" b="b"/>
            <a:pathLst>
              <a:path w="11517630" h="9144000">
                <a:moveTo>
                  <a:pt x="9892926" y="0"/>
                </a:moveTo>
                <a:lnTo>
                  <a:pt x="1805039" y="0"/>
                </a:lnTo>
                <a:lnTo>
                  <a:pt x="0" y="3575"/>
                </a:lnTo>
                <a:lnTo>
                  <a:pt x="0" y="2013061"/>
                </a:lnTo>
                <a:lnTo>
                  <a:pt x="928" y="2246592"/>
                </a:lnTo>
                <a:lnTo>
                  <a:pt x="14277" y="5348659"/>
                </a:lnTo>
                <a:lnTo>
                  <a:pt x="17104" y="6110531"/>
                </a:lnTo>
                <a:lnTo>
                  <a:pt x="18863" y="6669078"/>
                </a:lnTo>
                <a:lnTo>
                  <a:pt x="20055" y="7125990"/>
                </a:lnTo>
                <a:lnTo>
                  <a:pt x="20896" y="7532084"/>
                </a:lnTo>
                <a:lnTo>
                  <a:pt x="21443" y="7887386"/>
                </a:lnTo>
                <a:lnTo>
                  <a:pt x="21797" y="8242666"/>
                </a:lnTo>
                <a:lnTo>
                  <a:pt x="21906" y="8851684"/>
                </a:lnTo>
                <a:lnTo>
                  <a:pt x="21715" y="9144000"/>
                </a:lnTo>
                <a:lnTo>
                  <a:pt x="9912903" y="9144000"/>
                </a:lnTo>
                <a:lnTo>
                  <a:pt x="11517630" y="4586052"/>
                </a:lnTo>
                <a:lnTo>
                  <a:pt x="98929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1" y="4677075"/>
            <a:ext cx="583891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170405"/>
            <a:ext cx="583891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617296"/>
            <a:ext cx="583891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5A723EB9-3F47-482D-A461-32793B3E26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01" y="6446579"/>
            <a:ext cx="2594556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r>
              <a:rPr lang="en-US"/>
              <a:t>OCTOBER 2021 | HEINEKEN CAMBODIA</a:t>
            </a:r>
          </a:p>
        </p:txBody>
      </p:sp>
    </p:spTree>
    <p:extLst>
      <p:ext uri="{BB962C8B-B14F-4D97-AF65-F5344CB8AC3E}">
        <p14:creationId xmlns:p14="http://schemas.microsoft.com/office/powerpoint/2010/main" val="38078837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Green st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C4616"/>
              </a:gs>
              <a:gs pos="39000">
                <a:srgbClr val="086F2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91">
              <a:solidFill>
                <a:schemeClr val="tx1"/>
              </a:solidFill>
            </a:endParaRPr>
          </a:p>
        </p:txBody>
      </p:sp>
      <p:sp>
        <p:nvSpPr>
          <p:cNvPr id="3" name="5-Point Star 2"/>
          <p:cNvSpPr/>
          <p:nvPr userDrawn="1"/>
        </p:nvSpPr>
        <p:spPr>
          <a:xfrm>
            <a:off x="3216000" y="768248"/>
            <a:ext cx="5760000" cy="5760000"/>
          </a:xfrm>
          <a:prstGeom prst="star5">
            <a:avLst/>
          </a:prstGeom>
          <a:solidFill>
            <a:schemeClr val="bg1">
              <a:alpha val="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91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4871" y="6421977"/>
            <a:ext cx="1159792" cy="27092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1364663" y="6528249"/>
            <a:ext cx="499312" cy="219567"/>
          </a:xfrm>
          <a:prstGeom prst="rect">
            <a:avLst/>
          </a:prstGeom>
        </p:spPr>
        <p:txBody>
          <a:bodyPr wrap="square" lIns="31925" tIns="46093" rIns="31925" bIns="46093" anchor="ctr" anchorCtr="0">
            <a:noAutofit/>
          </a:bodyPr>
          <a:lstStyle/>
          <a:p>
            <a:pPr algn="ctr" defTabSz="460946"/>
            <a:fld id="{4181FA4E-55BD-B544-97CA-685EABEFAAC8}" type="slidenum">
              <a:rPr lang="en-US" sz="997">
                <a:solidFill>
                  <a:schemeClr val="bg1"/>
                </a:solidFill>
              </a:rPr>
              <a:pPr algn="ctr" defTabSz="460946"/>
              <a:t>‹#›</a:t>
            </a:fld>
            <a:endParaRPr lang="en-US" sz="997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4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09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8"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930772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blipFill>
          <a:blip r:embed="rId2"/>
          <a:tile tx="0" ty="0" sx="80000" sy="80000" flip="none" algn="ctr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5"/>
          <p:cNvSpPr>
            <a:spLocks noGrp="1"/>
          </p:cNvSpPr>
          <p:nvPr>
            <p:ph type="title"/>
          </p:nvPr>
        </p:nvSpPr>
        <p:spPr>
          <a:xfrm>
            <a:off x="549598" y="3676789"/>
            <a:ext cx="4756380" cy="1080000"/>
          </a:xfrm>
        </p:spPr>
        <p:txBody>
          <a:bodyPr tIns="180000" rIns="360000" anchor="t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76" name="Group 75"/>
          <p:cNvGrpSpPr/>
          <p:nvPr userDrawn="1"/>
        </p:nvGrpSpPr>
        <p:grpSpPr>
          <a:xfrm>
            <a:off x="1707660" y="516648"/>
            <a:ext cx="2512645" cy="2978151"/>
            <a:chOff x="6359524" y="322263"/>
            <a:chExt cx="2041524" cy="2978151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6919911" y="1022351"/>
              <a:ext cx="139700" cy="450850"/>
            </a:xfrm>
            <a:custGeom>
              <a:avLst/>
              <a:gdLst>
                <a:gd name="T0" fmla="*/ 80 w 93"/>
                <a:gd name="T1" fmla="*/ 115 h 301"/>
                <a:gd name="T2" fmla="*/ 74 w 93"/>
                <a:gd name="T3" fmla="*/ 75 h 301"/>
                <a:gd name="T4" fmla="*/ 66 w 93"/>
                <a:gd name="T5" fmla="*/ 24 h 301"/>
                <a:gd name="T6" fmla="*/ 70 w 93"/>
                <a:gd name="T7" fmla="*/ 12 h 301"/>
                <a:gd name="T8" fmla="*/ 60 w 93"/>
                <a:gd name="T9" fmla="*/ 0 h 301"/>
                <a:gd name="T10" fmla="*/ 46 w 93"/>
                <a:gd name="T11" fmla="*/ 0 h 301"/>
                <a:gd name="T12" fmla="*/ 32 w 93"/>
                <a:gd name="T13" fmla="*/ 0 h 301"/>
                <a:gd name="T14" fmla="*/ 23 w 93"/>
                <a:gd name="T15" fmla="*/ 12 h 301"/>
                <a:gd name="T16" fmla="*/ 27 w 93"/>
                <a:gd name="T17" fmla="*/ 24 h 301"/>
                <a:gd name="T18" fmla="*/ 19 w 93"/>
                <a:gd name="T19" fmla="*/ 75 h 301"/>
                <a:gd name="T20" fmla="*/ 12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6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0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0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6"/>
                    <a:pt x="66" y="24"/>
                    <a:pt x="66" y="24"/>
                  </a:cubicBezTo>
                  <a:cubicBezTo>
                    <a:pt x="66" y="24"/>
                    <a:pt x="70" y="22"/>
                    <a:pt x="70" y="12"/>
                  </a:cubicBezTo>
                  <a:cubicBezTo>
                    <a:pt x="70" y="3"/>
                    <a:pt x="60" y="0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3" y="3"/>
                    <a:pt x="23" y="12"/>
                  </a:cubicBezTo>
                  <a:cubicBezTo>
                    <a:pt x="23" y="22"/>
                    <a:pt x="27" y="24"/>
                    <a:pt x="27" y="24"/>
                  </a:cubicBezTo>
                  <a:cubicBezTo>
                    <a:pt x="27" y="24"/>
                    <a:pt x="20" y="56"/>
                    <a:pt x="19" y="75"/>
                  </a:cubicBezTo>
                  <a:cubicBezTo>
                    <a:pt x="19" y="75"/>
                    <a:pt x="14" y="89"/>
                    <a:pt x="12" y="115"/>
                  </a:cubicBezTo>
                  <a:cubicBezTo>
                    <a:pt x="12" y="115"/>
                    <a:pt x="0" y="126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6" y="301"/>
                    <a:pt x="46" y="301"/>
                    <a:pt x="46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6"/>
                    <a:pt x="80" y="115"/>
                    <a:pt x="80" y="115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6919911" y="487363"/>
              <a:ext cx="139700" cy="450850"/>
            </a:xfrm>
            <a:custGeom>
              <a:avLst/>
              <a:gdLst>
                <a:gd name="T0" fmla="*/ 80 w 93"/>
                <a:gd name="T1" fmla="*/ 115 h 301"/>
                <a:gd name="T2" fmla="*/ 74 w 93"/>
                <a:gd name="T3" fmla="*/ 75 h 301"/>
                <a:gd name="T4" fmla="*/ 66 w 93"/>
                <a:gd name="T5" fmla="*/ 23 h 301"/>
                <a:gd name="T6" fmla="*/ 70 w 93"/>
                <a:gd name="T7" fmla="*/ 12 h 301"/>
                <a:gd name="T8" fmla="*/ 60 w 93"/>
                <a:gd name="T9" fmla="*/ 0 h 301"/>
                <a:gd name="T10" fmla="*/ 46 w 93"/>
                <a:gd name="T11" fmla="*/ 0 h 301"/>
                <a:gd name="T12" fmla="*/ 32 w 93"/>
                <a:gd name="T13" fmla="*/ 0 h 301"/>
                <a:gd name="T14" fmla="*/ 23 w 93"/>
                <a:gd name="T15" fmla="*/ 12 h 301"/>
                <a:gd name="T16" fmla="*/ 27 w 93"/>
                <a:gd name="T17" fmla="*/ 23 h 301"/>
                <a:gd name="T18" fmla="*/ 19 w 93"/>
                <a:gd name="T19" fmla="*/ 75 h 301"/>
                <a:gd name="T20" fmla="*/ 12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6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0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0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5"/>
                    <a:pt x="66" y="23"/>
                    <a:pt x="66" y="23"/>
                  </a:cubicBezTo>
                  <a:cubicBezTo>
                    <a:pt x="66" y="23"/>
                    <a:pt x="70" y="21"/>
                    <a:pt x="70" y="12"/>
                  </a:cubicBezTo>
                  <a:cubicBezTo>
                    <a:pt x="70" y="3"/>
                    <a:pt x="60" y="0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3" y="3"/>
                    <a:pt x="23" y="12"/>
                  </a:cubicBezTo>
                  <a:cubicBezTo>
                    <a:pt x="23" y="21"/>
                    <a:pt x="27" y="23"/>
                    <a:pt x="27" y="23"/>
                  </a:cubicBezTo>
                  <a:cubicBezTo>
                    <a:pt x="27" y="23"/>
                    <a:pt x="20" y="55"/>
                    <a:pt x="19" y="75"/>
                  </a:cubicBezTo>
                  <a:cubicBezTo>
                    <a:pt x="19" y="75"/>
                    <a:pt x="14" y="89"/>
                    <a:pt x="12" y="115"/>
                  </a:cubicBezTo>
                  <a:cubicBezTo>
                    <a:pt x="12" y="115"/>
                    <a:pt x="0" y="125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6" y="301"/>
                    <a:pt x="46" y="301"/>
                    <a:pt x="46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5"/>
                    <a:pt x="80" y="115"/>
                    <a:pt x="80" y="115"/>
                  </a:cubicBezTo>
                  <a:close/>
                </a:path>
              </a:pathLst>
            </a:custGeom>
            <a:solidFill>
              <a:srgbClr val="EB7F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7194549" y="1022351"/>
              <a:ext cx="139700" cy="450850"/>
            </a:xfrm>
            <a:custGeom>
              <a:avLst/>
              <a:gdLst>
                <a:gd name="T0" fmla="*/ 80 w 93"/>
                <a:gd name="T1" fmla="*/ 115 h 301"/>
                <a:gd name="T2" fmla="*/ 74 w 93"/>
                <a:gd name="T3" fmla="*/ 75 h 301"/>
                <a:gd name="T4" fmla="*/ 66 w 93"/>
                <a:gd name="T5" fmla="*/ 24 h 301"/>
                <a:gd name="T6" fmla="*/ 70 w 93"/>
                <a:gd name="T7" fmla="*/ 12 h 301"/>
                <a:gd name="T8" fmla="*/ 60 w 93"/>
                <a:gd name="T9" fmla="*/ 0 h 301"/>
                <a:gd name="T10" fmla="*/ 46 w 93"/>
                <a:gd name="T11" fmla="*/ 0 h 301"/>
                <a:gd name="T12" fmla="*/ 32 w 93"/>
                <a:gd name="T13" fmla="*/ 0 h 301"/>
                <a:gd name="T14" fmla="*/ 23 w 93"/>
                <a:gd name="T15" fmla="*/ 12 h 301"/>
                <a:gd name="T16" fmla="*/ 27 w 93"/>
                <a:gd name="T17" fmla="*/ 24 h 301"/>
                <a:gd name="T18" fmla="*/ 19 w 93"/>
                <a:gd name="T19" fmla="*/ 75 h 301"/>
                <a:gd name="T20" fmla="*/ 12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6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0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0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6"/>
                    <a:pt x="66" y="24"/>
                    <a:pt x="66" y="24"/>
                  </a:cubicBezTo>
                  <a:cubicBezTo>
                    <a:pt x="66" y="24"/>
                    <a:pt x="70" y="22"/>
                    <a:pt x="70" y="12"/>
                  </a:cubicBezTo>
                  <a:cubicBezTo>
                    <a:pt x="70" y="3"/>
                    <a:pt x="60" y="0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3" y="3"/>
                    <a:pt x="23" y="12"/>
                  </a:cubicBezTo>
                  <a:cubicBezTo>
                    <a:pt x="23" y="22"/>
                    <a:pt x="27" y="24"/>
                    <a:pt x="27" y="24"/>
                  </a:cubicBezTo>
                  <a:cubicBezTo>
                    <a:pt x="27" y="24"/>
                    <a:pt x="20" y="56"/>
                    <a:pt x="19" y="75"/>
                  </a:cubicBezTo>
                  <a:cubicBezTo>
                    <a:pt x="19" y="75"/>
                    <a:pt x="14" y="89"/>
                    <a:pt x="12" y="115"/>
                  </a:cubicBezTo>
                  <a:cubicBezTo>
                    <a:pt x="12" y="115"/>
                    <a:pt x="0" y="126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6" y="301"/>
                    <a:pt x="46" y="301"/>
                    <a:pt x="46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6"/>
                    <a:pt x="80" y="115"/>
                    <a:pt x="80" y="115"/>
                  </a:cubicBezTo>
                  <a:close/>
                </a:path>
              </a:pathLst>
            </a:custGeom>
            <a:solidFill>
              <a:srgbClr val="FED3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7194549" y="487363"/>
              <a:ext cx="139700" cy="450850"/>
            </a:xfrm>
            <a:custGeom>
              <a:avLst/>
              <a:gdLst>
                <a:gd name="T0" fmla="*/ 80 w 93"/>
                <a:gd name="T1" fmla="*/ 115 h 301"/>
                <a:gd name="T2" fmla="*/ 74 w 93"/>
                <a:gd name="T3" fmla="*/ 75 h 301"/>
                <a:gd name="T4" fmla="*/ 66 w 93"/>
                <a:gd name="T5" fmla="*/ 23 h 301"/>
                <a:gd name="T6" fmla="*/ 70 w 93"/>
                <a:gd name="T7" fmla="*/ 12 h 301"/>
                <a:gd name="T8" fmla="*/ 60 w 93"/>
                <a:gd name="T9" fmla="*/ 0 h 301"/>
                <a:gd name="T10" fmla="*/ 46 w 93"/>
                <a:gd name="T11" fmla="*/ 0 h 301"/>
                <a:gd name="T12" fmla="*/ 32 w 93"/>
                <a:gd name="T13" fmla="*/ 0 h 301"/>
                <a:gd name="T14" fmla="*/ 23 w 93"/>
                <a:gd name="T15" fmla="*/ 12 h 301"/>
                <a:gd name="T16" fmla="*/ 27 w 93"/>
                <a:gd name="T17" fmla="*/ 23 h 301"/>
                <a:gd name="T18" fmla="*/ 19 w 93"/>
                <a:gd name="T19" fmla="*/ 75 h 301"/>
                <a:gd name="T20" fmla="*/ 12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6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0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0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5"/>
                    <a:pt x="66" y="23"/>
                    <a:pt x="66" y="23"/>
                  </a:cubicBezTo>
                  <a:cubicBezTo>
                    <a:pt x="66" y="23"/>
                    <a:pt x="70" y="21"/>
                    <a:pt x="70" y="12"/>
                  </a:cubicBezTo>
                  <a:cubicBezTo>
                    <a:pt x="70" y="3"/>
                    <a:pt x="60" y="0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3" y="3"/>
                    <a:pt x="23" y="12"/>
                  </a:cubicBezTo>
                  <a:cubicBezTo>
                    <a:pt x="23" y="21"/>
                    <a:pt x="27" y="23"/>
                    <a:pt x="27" y="23"/>
                  </a:cubicBezTo>
                  <a:cubicBezTo>
                    <a:pt x="27" y="23"/>
                    <a:pt x="20" y="55"/>
                    <a:pt x="19" y="75"/>
                  </a:cubicBezTo>
                  <a:cubicBezTo>
                    <a:pt x="19" y="75"/>
                    <a:pt x="14" y="89"/>
                    <a:pt x="12" y="115"/>
                  </a:cubicBezTo>
                  <a:cubicBezTo>
                    <a:pt x="12" y="115"/>
                    <a:pt x="0" y="125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6" y="301"/>
                    <a:pt x="46" y="301"/>
                    <a:pt x="46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5"/>
                    <a:pt x="80" y="115"/>
                    <a:pt x="80" y="115"/>
                  </a:cubicBezTo>
                  <a:close/>
                </a:path>
              </a:pathLst>
            </a:custGeom>
            <a:solidFill>
              <a:srgbClr val="005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7469186" y="1022351"/>
              <a:ext cx="139700" cy="450850"/>
            </a:xfrm>
            <a:custGeom>
              <a:avLst/>
              <a:gdLst>
                <a:gd name="T0" fmla="*/ 80 w 93"/>
                <a:gd name="T1" fmla="*/ 115 h 301"/>
                <a:gd name="T2" fmla="*/ 74 w 93"/>
                <a:gd name="T3" fmla="*/ 75 h 301"/>
                <a:gd name="T4" fmla="*/ 66 w 93"/>
                <a:gd name="T5" fmla="*/ 24 h 301"/>
                <a:gd name="T6" fmla="*/ 70 w 93"/>
                <a:gd name="T7" fmla="*/ 12 h 301"/>
                <a:gd name="T8" fmla="*/ 60 w 93"/>
                <a:gd name="T9" fmla="*/ 0 h 301"/>
                <a:gd name="T10" fmla="*/ 46 w 93"/>
                <a:gd name="T11" fmla="*/ 0 h 301"/>
                <a:gd name="T12" fmla="*/ 32 w 93"/>
                <a:gd name="T13" fmla="*/ 0 h 301"/>
                <a:gd name="T14" fmla="*/ 23 w 93"/>
                <a:gd name="T15" fmla="*/ 12 h 301"/>
                <a:gd name="T16" fmla="*/ 27 w 93"/>
                <a:gd name="T17" fmla="*/ 24 h 301"/>
                <a:gd name="T18" fmla="*/ 19 w 93"/>
                <a:gd name="T19" fmla="*/ 75 h 301"/>
                <a:gd name="T20" fmla="*/ 12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6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0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0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6"/>
                    <a:pt x="66" y="24"/>
                    <a:pt x="66" y="24"/>
                  </a:cubicBezTo>
                  <a:cubicBezTo>
                    <a:pt x="66" y="24"/>
                    <a:pt x="70" y="22"/>
                    <a:pt x="70" y="12"/>
                  </a:cubicBezTo>
                  <a:cubicBezTo>
                    <a:pt x="70" y="3"/>
                    <a:pt x="60" y="0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3" y="3"/>
                    <a:pt x="23" y="12"/>
                  </a:cubicBezTo>
                  <a:cubicBezTo>
                    <a:pt x="23" y="22"/>
                    <a:pt x="27" y="24"/>
                    <a:pt x="27" y="24"/>
                  </a:cubicBezTo>
                  <a:cubicBezTo>
                    <a:pt x="27" y="24"/>
                    <a:pt x="20" y="56"/>
                    <a:pt x="19" y="75"/>
                  </a:cubicBezTo>
                  <a:cubicBezTo>
                    <a:pt x="19" y="75"/>
                    <a:pt x="14" y="89"/>
                    <a:pt x="12" y="115"/>
                  </a:cubicBezTo>
                  <a:cubicBezTo>
                    <a:pt x="12" y="115"/>
                    <a:pt x="0" y="126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6" y="301"/>
                    <a:pt x="46" y="301"/>
                    <a:pt x="46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6"/>
                    <a:pt x="80" y="115"/>
                    <a:pt x="80" y="115"/>
                  </a:cubicBezTo>
                  <a:close/>
                </a:path>
              </a:pathLst>
            </a:custGeom>
            <a:solidFill>
              <a:srgbClr val="0577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7469186" y="487363"/>
              <a:ext cx="139700" cy="450850"/>
            </a:xfrm>
            <a:custGeom>
              <a:avLst/>
              <a:gdLst>
                <a:gd name="T0" fmla="*/ 80 w 93"/>
                <a:gd name="T1" fmla="*/ 115 h 301"/>
                <a:gd name="T2" fmla="*/ 74 w 93"/>
                <a:gd name="T3" fmla="*/ 75 h 301"/>
                <a:gd name="T4" fmla="*/ 66 w 93"/>
                <a:gd name="T5" fmla="*/ 23 h 301"/>
                <a:gd name="T6" fmla="*/ 70 w 93"/>
                <a:gd name="T7" fmla="*/ 12 h 301"/>
                <a:gd name="T8" fmla="*/ 60 w 93"/>
                <a:gd name="T9" fmla="*/ 0 h 301"/>
                <a:gd name="T10" fmla="*/ 46 w 93"/>
                <a:gd name="T11" fmla="*/ 0 h 301"/>
                <a:gd name="T12" fmla="*/ 32 w 93"/>
                <a:gd name="T13" fmla="*/ 0 h 301"/>
                <a:gd name="T14" fmla="*/ 23 w 93"/>
                <a:gd name="T15" fmla="*/ 12 h 301"/>
                <a:gd name="T16" fmla="*/ 27 w 93"/>
                <a:gd name="T17" fmla="*/ 23 h 301"/>
                <a:gd name="T18" fmla="*/ 19 w 93"/>
                <a:gd name="T19" fmla="*/ 75 h 301"/>
                <a:gd name="T20" fmla="*/ 12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6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0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0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5"/>
                    <a:pt x="66" y="23"/>
                    <a:pt x="66" y="23"/>
                  </a:cubicBezTo>
                  <a:cubicBezTo>
                    <a:pt x="66" y="23"/>
                    <a:pt x="70" y="21"/>
                    <a:pt x="70" y="12"/>
                  </a:cubicBezTo>
                  <a:cubicBezTo>
                    <a:pt x="70" y="3"/>
                    <a:pt x="60" y="0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23" y="3"/>
                    <a:pt x="23" y="12"/>
                  </a:cubicBezTo>
                  <a:cubicBezTo>
                    <a:pt x="23" y="21"/>
                    <a:pt x="27" y="23"/>
                    <a:pt x="27" y="23"/>
                  </a:cubicBezTo>
                  <a:cubicBezTo>
                    <a:pt x="27" y="23"/>
                    <a:pt x="20" y="55"/>
                    <a:pt x="19" y="75"/>
                  </a:cubicBezTo>
                  <a:cubicBezTo>
                    <a:pt x="19" y="75"/>
                    <a:pt x="14" y="89"/>
                    <a:pt x="12" y="115"/>
                  </a:cubicBezTo>
                  <a:cubicBezTo>
                    <a:pt x="12" y="115"/>
                    <a:pt x="0" y="125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6" y="301"/>
                    <a:pt x="46" y="301"/>
                    <a:pt x="46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5"/>
                    <a:pt x="80" y="115"/>
                    <a:pt x="80" y="115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7743823" y="1022351"/>
              <a:ext cx="139700" cy="450850"/>
            </a:xfrm>
            <a:custGeom>
              <a:avLst/>
              <a:gdLst>
                <a:gd name="T0" fmla="*/ 81 w 93"/>
                <a:gd name="T1" fmla="*/ 115 h 301"/>
                <a:gd name="T2" fmla="*/ 74 w 93"/>
                <a:gd name="T3" fmla="*/ 75 h 301"/>
                <a:gd name="T4" fmla="*/ 66 w 93"/>
                <a:gd name="T5" fmla="*/ 24 h 301"/>
                <a:gd name="T6" fmla="*/ 70 w 93"/>
                <a:gd name="T7" fmla="*/ 12 h 301"/>
                <a:gd name="T8" fmla="*/ 61 w 93"/>
                <a:gd name="T9" fmla="*/ 0 h 301"/>
                <a:gd name="T10" fmla="*/ 47 w 93"/>
                <a:gd name="T11" fmla="*/ 0 h 301"/>
                <a:gd name="T12" fmla="*/ 33 w 93"/>
                <a:gd name="T13" fmla="*/ 0 h 301"/>
                <a:gd name="T14" fmla="*/ 23 w 93"/>
                <a:gd name="T15" fmla="*/ 12 h 301"/>
                <a:gd name="T16" fmla="*/ 27 w 93"/>
                <a:gd name="T17" fmla="*/ 24 h 301"/>
                <a:gd name="T18" fmla="*/ 19 w 93"/>
                <a:gd name="T19" fmla="*/ 75 h 301"/>
                <a:gd name="T20" fmla="*/ 13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7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1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1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6"/>
                    <a:pt x="66" y="24"/>
                    <a:pt x="66" y="24"/>
                  </a:cubicBezTo>
                  <a:cubicBezTo>
                    <a:pt x="66" y="24"/>
                    <a:pt x="70" y="22"/>
                    <a:pt x="70" y="12"/>
                  </a:cubicBezTo>
                  <a:cubicBezTo>
                    <a:pt x="70" y="3"/>
                    <a:pt x="61" y="0"/>
                    <a:pt x="6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23" y="3"/>
                    <a:pt x="23" y="12"/>
                  </a:cubicBezTo>
                  <a:cubicBezTo>
                    <a:pt x="23" y="22"/>
                    <a:pt x="27" y="24"/>
                    <a:pt x="27" y="24"/>
                  </a:cubicBezTo>
                  <a:cubicBezTo>
                    <a:pt x="27" y="24"/>
                    <a:pt x="20" y="56"/>
                    <a:pt x="19" y="75"/>
                  </a:cubicBezTo>
                  <a:cubicBezTo>
                    <a:pt x="19" y="75"/>
                    <a:pt x="14" y="89"/>
                    <a:pt x="13" y="115"/>
                  </a:cubicBezTo>
                  <a:cubicBezTo>
                    <a:pt x="13" y="115"/>
                    <a:pt x="0" y="126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7" y="301"/>
                    <a:pt x="47" y="301"/>
                    <a:pt x="47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6"/>
                    <a:pt x="81" y="115"/>
                    <a:pt x="81" y="115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7743823" y="487363"/>
              <a:ext cx="139700" cy="450850"/>
            </a:xfrm>
            <a:custGeom>
              <a:avLst/>
              <a:gdLst>
                <a:gd name="T0" fmla="*/ 81 w 93"/>
                <a:gd name="T1" fmla="*/ 115 h 301"/>
                <a:gd name="T2" fmla="*/ 74 w 93"/>
                <a:gd name="T3" fmla="*/ 75 h 301"/>
                <a:gd name="T4" fmla="*/ 66 w 93"/>
                <a:gd name="T5" fmla="*/ 23 h 301"/>
                <a:gd name="T6" fmla="*/ 70 w 93"/>
                <a:gd name="T7" fmla="*/ 12 h 301"/>
                <a:gd name="T8" fmla="*/ 61 w 93"/>
                <a:gd name="T9" fmla="*/ 0 h 301"/>
                <a:gd name="T10" fmla="*/ 47 w 93"/>
                <a:gd name="T11" fmla="*/ 0 h 301"/>
                <a:gd name="T12" fmla="*/ 33 w 93"/>
                <a:gd name="T13" fmla="*/ 0 h 301"/>
                <a:gd name="T14" fmla="*/ 23 w 93"/>
                <a:gd name="T15" fmla="*/ 12 h 301"/>
                <a:gd name="T16" fmla="*/ 27 w 93"/>
                <a:gd name="T17" fmla="*/ 23 h 301"/>
                <a:gd name="T18" fmla="*/ 19 w 93"/>
                <a:gd name="T19" fmla="*/ 75 h 301"/>
                <a:gd name="T20" fmla="*/ 13 w 93"/>
                <a:gd name="T21" fmla="*/ 115 h 301"/>
                <a:gd name="T22" fmla="*/ 0 w 93"/>
                <a:gd name="T23" fmla="*/ 140 h 301"/>
                <a:gd name="T24" fmla="*/ 0 w 93"/>
                <a:gd name="T25" fmla="*/ 286 h 301"/>
                <a:gd name="T26" fmla="*/ 18 w 93"/>
                <a:gd name="T27" fmla="*/ 301 h 301"/>
                <a:gd name="T28" fmla="*/ 47 w 93"/>
                <a:gd name="T29" fmla="*/ 301 h 301"/>
                <a:gd name="T30" fmla="*/ 75 w 93"/>
                <a:gd name="T31" fmla="*/ 301 h 301"/>
                <a:gd name="T32" fmla="*/ 93 w 93"/>
                <a:gd name="T33" fmla="*/ 286 h 301"/>
                <a:gd name="T34" fmla="*/ 93 w 93"/>
                <a:gd name="T35" fmla="*/ 140 h 301"/>
                <a:gd name="T36" fmla="*/ 81 w 93"/>
                <a:gd name="T37" fmla="*/ 11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301">
                  <a:moveTo>
                    <a:pt x="81" y="115"/>
                  </a:moveTo>
                  <a:cubicBezTo>
                    <a:pt x="79" y="89"/>
                    <a:pt x="74" y="75"/>
                    <a:pt x="74" y="75"/>
                  </a:cubicBezTo>
                  <a:cubicBezTo>
                    <a:pt x="73" y="55"/>
                    <a:pt x="66" y="23"/>
                    <a:pt x="66" y="23"/>
                  </a:cubicBezTo>
                  <a:cubicBezTo>
                    <a:pt x="66" y="23"/>
                    <a:pt x="70" y="21"/>
                    <a:pt x="70" y="12"/>
                  </a:cubicBezTo>
                  <a:cubicBezTo>
                    <a:pt x="70" y="3"/>
                    <a:pt x="61" y="0"/>
                    <a:pt x="6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23" y="3"/>
                    <a:pt x="23" y="12"/>
                  </a:cubicBezTo>
                  <a:cubicBezTo>
                    <a:pt x="23" y="21"/>
                    <a:pt x="27" y="23"/>
                    <a:pt x="27" y="23"/>
                  </a:cubicBezTo>
                  <a:cubicBezTo>
                    <a:pt x="27" y="23"/>
                    <a:pt x="20" y="55"/>
                    <a:pt x="19" y="75"/>
                  </a:cubicBezTo>
                  <a:cubicBezTo>
                    <a:pt x="19" y="75"/>
                    <a:pt x="14" y="89"/>
                    <a:pt x="13" y="115"/>
                  </a:cubicBezTo>
                  <a:cubicBezTo>
                    <a:pt x="13" y="115"/>
                    <a:pt x="0" y="125"/>
                    <a:pt x="0" y="140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86"/>
                    <a:pt x="1" y="301"/>
                    <a:pt x="18" y="301"/>
                  </a:cubicBezTo>
                  <a:cubicBezTo>
                    <a:pt x="47" y="301"/>
                    <a:pt x="47" y="301"/>
                    <a:pt x="47" y="301"/>
                  </a:cubicBezTo>
                  <a:cubicBezTo>
                    <a:pt x="75" y="301"/>
                    <a:pt x="75" y="301"/>
                    <a:pt x="75" y="301"/>
                  </a:cubicBezTo>
                  <a:cubicBezTo>
                    <a:pt x="92" y="301"/>
                    <a:pt x="93" y="286"/>
                    <a:pt x="93" y="286"/>
                  </a:cubicBezTo>
                  <a:cubicBezTo>
                    <a:pt x="93" y="140"/>
                    <a:pt x="93" y="140"/>
                    <a:pt x="93" y="140"/>
                  </a:cubicBezTo>
                  <a:cubicBezTo>
                    <a:pt x="93" y="125"/>
                    <a:pt x="81" y="115"/>
                    <a:pt x="81" y="115"/>
                  </a:cubicBezTo>
                  <a:close/>
                </a:path>
              </a:pathLst>
            </a:custGeom>
            <a:solidFill>
              <a:srgbClr val="9126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6359524" y="1936751"/>
              <a:ext cx="346075" cy="527050"/>
            </a:xfrm>
            <a:custGeom>
              <a:avLst/>
              <a:gdLst>
                <a:gd name="T0" fmla="*/ 230 w 230"/>
                <a:gd name="T1" fmla="*/ 111 h 352"/>
                <a:gd name="T2" fmla="*/ 220 w 230"/>
                <a:gd name="T3" fmla="*/ 163 h 352"/>
                <a:gd name="T4" fmla="*/ 190 w 230"/>
                <a:gd name="T5" fmla="*/ 200 h 352"/>
                <a:gd name="T6" fmla="*/ 146 w 230"/>
                <a:gd name="T7" fmla="*/ 221 h 352"/>
                <a:gd name="T8" fmla="*/ 89 w 230"/>
                <a:gd name="T9" fmla="*/ 228 h 352"/>
                <a:gd name="T10" fmla="*/ 66 w 230"/>
                <a:gd name="T11" fmla="*/ 228 h 352"/>
                <a:gd name="T12" fmla="*/ 66 w 230"/>
                <a:gd name="T13" fmla="*/ 339 h 352"/>
                <a:gd name="T14" fmla="*/ 63 w 230"/>
                <a:gd name="T15" fmla="*/ 348 h 352"/>
                <a:gd name="T16" fmla="*/ 53 w 230"/>
                <a:gd name="T17" fmla="*/ 352 h 352"/>
                <a:gd name="T18" fmla="*/ 12 w 230"/>
                <a:gd name="T19" fmla="*/ 352 h 352"/>
                <a:gd name="T20" fmla="*/ 3 w 230"/>
                <a:gd name="T21" fmla="*/ 348 h 352"/>
                <a:gd name="T22" fmla="*/ 0 w 230"/>
                <a:gd name="T23" fmla="*/ 338 h 352"/>
                <a:gd name="T24" fmla="*/ 0 w 230"/>
                <a:gd name="T25" fmla="*/ 13 h 352"/>
                <a:gd name="T26" fmla="*/ 3 w 230"/>
                <a:gd name="T27" fmla="*/ 3 h 352"/>
                <a:gd name="T28" fmla="*/ 13 w 230"/>
                <a:gd name="T29" fmla="*/ 0 h 352"/>
                <a:gd name="T30" fmla="*/ 86 w 230"/>
                <a:gd name="T31" fmla="*/ 0 h 352"/>
                <a:gd name="T32" fmla="*/ 157 w 230"/>
                <a:gd name="T33" fmla="*/ 8 h 352"/>
                <a:gd name="T34" fmla="*/ 205 w 230"/>
                <a:gd name="T35" fmla="*/ 38 h 352"/>
                <a:gd name="T36" fmla="*/ 224 w 230"/>
                <a:gd name="T37" fmla="*/ 71 h 352"/>
                <a:gd name="T38" fmla="*/ 230 w 230"/>
                <a:gd name="T39" fmla="*/ 111 h 352"/>
                <a:gd name="T40" fmla="*/ 164 w 230"/>
                <a:gd name="T41" fmla="*/ 113 h 352"/>
                <a:gd name="T42" fmla="*/ 159 w 230"/>
                <a:gd name="T43" fmla="*/ 83 h 352"/>
                <a:gd name="T44" fmla="*/ 145 w 230"/>
                <a:gd name="T45" fmla="*/ 64 h 352"/>
                <a:gd name="T46" fmla="*/ 122 w 230"/>
                <a:gd name="T47" fmla="*/ 53 h 352"/>
                <a:gd name="T48" fmla="*/ 92 w 230"/>
                <a:gd name="T49" fmla="*/ 50 h 352"/>
                <a:gd name="T50" fmla="*/ 66 w 230"/>
                <a:gd name="T51" fmla="*/ 50 h 352"/>
                <a:gd name="T52" fmla="*/ 66 w 230"/>
                <a:gd name="T53" fmla="*/ 178 h 352"/>
                <a:gd name="T54" fmla="*/ 80 w 230"/>
                <a:gd name="T55" fmla="*/ 178 h 352"/>
                <a:gd name="T56" fmla="*/ 120 w 230"/>
                <a:gd name="T57" fmla="*/ 175 h 352"/>
                <a:gd name="T58" fmla="*/ 149 w 230"/>
                <a:gd name="T59" fmla="*/ 159 h 352"/>
                <a:gd name="T60" fmla="*/ 164 w 230"/>
                <a:gd name="T61" fmla="*/ 113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0" h="352">
                  <a:moveTo>
                    <a:pt x="230" y="111"/>
                  </a:moveTo>
                  <a:cubicBezTo>
                    <a:pt x="230" y="131"/>
                    <a:pt x="227" y="148"/>
                    <a:pt x="220" y="163"/>
                  </a:cubicBezTo>
                  <a:cubicBezTo>
                    <a:pt x="213" y="178"/>
                    <a:pt x="203" y="190"/>
                    <a:pt x="190" y="200"/>
                  </a:cubicBezTo>
                  <a:cubicBezTo>
                    <a:pt x="177" y="210"/>
                    <a:pt x="163" y="217"/>
                    <a:pt x="146" y="221"/>
                  </a:cubicBezTo>
                  <a:cubicBezTo>
                    <a:pt x="129" y="226"/>
                    <a:pt x="110" y="228"/>
                    <a:pt x="89" y="228"/>
                  </a:cubicBezTo>
                  <a:cubicBezTo>
                    <a:pt x="66" y="228"/>
                    <a:pt x="66" y="228"/>
                    <a:pt x="66" y="228"/>
                  </a:cubicBezTo>
                  <a:cubicBezTo>
                    <a:pt x="66" y="339"/>
                    <a:pt x="66" y="339"/>
                    <a:pt x="66" y="339"/>
                  </a:cubicBezTo>
                  <a:cubicBezTo>
                    <a:pt x="66" y="343"/>
                    <a:pt x="65" y="346"/>
                    <a:pt x="63" y="348"/>
                  </a:cubicBezTo>
                  <a:cubicBezTo>
                    <a:pt x="61" y="350"/>
                    <a:pt x="58" y="352"/>
                    <a:pt x="53" y="352"/>
                  </a:cubicBezTo>
                  <a:cubicBezTo>
                    <a:pt x="12" y="352"/>
                    <a:pt x="12" y="352"/>
                    <a:pt x="12" y="352"/>
                  </a:cubicBezTo>
                  <a:cubicBezTo>
                    <a:pt x="8" y="352"/>
                    <a:pt x="5" y="350"/>
                    <a:pt x="3" y="348"/>
                  </a:cubicBezTo>
                  <a:cubicBezTo>
                    <a:pt x="1" y="346"/>
                    <a:pt x="0" y="343"/>
                    <a:pt x="0" y="33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8" y="0"/>
                    <a:pt x="1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14" y="0"/>
                    <a:pt x="137" y="3"/>
                    <a:pt x="157" y="8"/>
                  </a:cubicBezTo>
                  <a:cubicBezTo>
                    <a:pt x="176" y="14"/>
                    <a:pt x="192" y="24"/>
                    <a:pt x="205" y="38"/>
                  </a:cubicBezTo>
                  <a:cubicBezTo>
                    <a:pt x="213" y="48"/>
                    <a:pt x="219" y="59"/>
                    <a:pt x="224" y="71"/>
                  </a:cubicBezTo>
                  <a:cubicBezTo>
                    <a:pt x="228" y="84"/>
                    <a:pt x="230" y="97"/>
                    <a:pt x="230" y="111"/>
                  </a:cubicBezTo>
                  <a:close/>
                  <a:moveTo>
                    <a:pt x="164" y="113"/>
                  </a:moveTo>
                  <a:cubicBezTo>
                    <a:pt x="164" y="101"/>
                    <a:pt x="162" y="91"/>
                    <a:pt x="159" y="83"/>
                  </a:cubicBezTo>
                  <a:cubicBezTo>
                    <a:pt x="156" y="76"/>
                    <a:pt x="151" y="69"/>
                    <a:pt x="145" y="64"/>
                  </a:cubicBezTo>
                  <a:cubicBezTo>
                    <a:pt x="138" y="59"/>
                    <a:pt x="131" y="56"/>
                    <a:pt x="122" y="53"/>
                  </a:cubicBezTo>
                  <a:cubicBezTo>
                    <a:pt x="113" y="51"/>
                    <a:pt x="103" y="50"/>
                    <a:pt x="92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178"/>
                    <a:pt x="66" y="178"/>
                    <a:pt x="66" y="178"/>
                  </a:cubicBezTo>
                  <a:cubicBezTo>
                    <a:pt x="80" y="178"/>
                    <a:pt x="80" y="178"/>
                    <a:pt x="80" y="178"/>
                  </a:cubicBezTo>
                  <a:cubicBezTo>
                    <a:pt x="95" y="178"/>
                    <a:pt x="108" y="177"/>
                    <a:pt x="120" y="175"/>
                  </a:cubicBezTo>
                  <a:cubicBezTo>
                    <a:pt x="131" y="173"/>
                    <a:pt x="141" y="167"/>
                    <a:pt x="149" y="159"/>
                  </a:cubicBezTo>
                  <a:cubicBezTo>
                    <a:pt x="159" y="148"/>
                    <a:pt x="164" y="132"/>
                    <a:pt x="164" y="1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6772274" y="1936751"/>
              <a:ext cx="215900" cy="527050"/>
            </a:xfrm>
            <a:custGeom>
              <a:avLst/>
              <a:gdLst>
                <a:gd name="T0" fmla="*/ 144 w 144"/>
                <a:gd name="T1" fmla="*/ 31 h 352"/>
                <a:gd name="T2" fmla="*/ 142 w 144"/>
                <a:gd name="T3" fmla="*/ 40 h 352"/>
                <a:gd name="T4" fmla="*/ 134 w 144"/>
                <a:gd name="T5" fmla="*/ 42 h 352"/>
                <a:gd name="T6" fmla="*/ 105 w 144"/>
                <a:gd name="T7" fmla="*/ 42 h 352"/>
                <a:gd name="T8" fmla="*/ 105 w 144"/>
                <a:gd name="T9" fmla="*/ 309 h 352"/>
                <a:gd name="T10" fmla="*/ 133 w 144"/>
                <a:gd name="T11" fmla="*/ 309 h 352"/>
                <a:gd name="T12" fmla="*/ 141 w 144"/>
                <a:gd name="T13" fmla="*/ 312 h 352"/>
                <a:gd name="T14" fmla="*/ 143 w 144"/>
                <a:gd name="T15" fmla="*/ 320 h 352"/>
                <a:gd name="T16" fmla="*/ 143 w 144"/>
                <a:gd name="T17" fmla="*/ 341 h 352"/>
                <a:gd name="T18" fmla="*/ 134 w 144"/>
                <a:gd name="T19" fmla="*/ 352 h 352"/>
                <a:gd name="T20" fmla="*/ 12 w 144"/>
                <a:gd name="T21" fmla="*/ 352 h 352"/>
                <a:gd name="T22" fmla="*/ 2 w 144"/>
                <a:gd name="T23" fmla="*/ 342 h 352"/>
                <a:gd name="T24" fmla="*/ 2 w 144"/>
                <a:gd name="T25" fmla="*/ 319 h 352"/>
                <a:gd name="T26" fmla="*/ 12 w 144"/>
                <a:gd name="T27" fmla="*/ 309 h 352"/>
                <a:gd name="T28" fmla="*/ 40 w 144"/>
                <a:gd name="T29" fmla="*/ 309 h 352"/>
                <a:gd name="T30" fmla="*/ 40 w 144"/>
                <a:gd name="T31" fmla="*/ 42 h 352"/>
                <a:gd name="T32" fmla="*/ 10 w 144"/>
                <a:gd name="T33" fmla="*/ 42 h 352"/>
                <a:gd name="T34" fmla="*/ 0 w 144"/>
                <a:gd name="T35" fmla="*/ 32 h 352"/>
                <a:gd name="T36" fmla="*/ 0 w 144"/>
                <a:gd name="T37" fmla="*/ 10 h 352"/>
                <a:gd name="T38" fmla="*/ 2 w 144"/>
                <a:gd name="T39" fmla="*/ 3 h 352"/>
                <a:gd name="T40" fmla="*/ 9 w 144"/>
                <a:gd name="T41" fmla="*/ 0 h 352"/>
                <a:gd name="T42" fmla="*/ 134 w 144"/>
                <a:gd name="T43" fmla="*/ 0 h 352"/>
                <a:gd name="T44" fmla="*/ 142 w 144"/>
                <a:gd name="T45" fmla="*/ 2 h 352"/>
                <a:gd name="T46" fmla="*/ 144 w 144"/>
                <a:gd name="T47" fmla="*/ 9 h 352"/>
                <a:gd name="T48" fmla="*/ 144 w 144"/>
                <a:gd name="T49" fmla="*/ 31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4" h="352">
                  <a:moveTo>
                    <a:pt x="144" y="31"/>
                  </a:moveTo>
                  <a:cubicBezTo>
                    <a:pt x="144" y="35"/>
                    <a:pt x="144" y="38"/>
                    <a:pt x="142" y="40"/>
                  </a:cubicBezTo>
                  <a:cubicBezTo>
                    <a:pt x="140" y="41"/>
                    <a:pt x="137" y="42"/>
                    <a:pt x="134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309"/>
                    <a:pt x="105" y="309"/>
                    <a:pt x="105" y="309"/>
                  </a:cubicBezTo>
                  <a:cubicBezTo>
                    <a:pt x="133" y="309"/>
                    <a:pt x="133" y="309"/>
                    <a:pt x="133" y="309"/>
                  </a:cubicBezTo>
                  <a:cubicBezTo>
                    <a:pt x="136" y="309"/>
                    <a:pt x="139" y="310"/>
                    <a:pt x="141" y="312"/>
                  </a:cubicBezTo>
                  <a:cubicBezTo>
                    <a:pt x="143" y="314"/>
                    <a:pt x="143" y="317"/>
                    <a:pt x="143" y="320"/>
                  </a:cubicBezTo>
                  <a:cubicBezTo>
                    <a:pt x="143" y="341"/>
                    <a:pt x="143" y="341"/>
                    <a:pt x="143" y="341"/>
                  </a:cubicBezTo>
                  <a:cubicBezTo>
                    <a:pt x="143" y="348"/>
                    <a:pt x="140" y="352"/>
                    <a:pt x="134" y="352"/>
                  </a:cubicBezTo>
                  <a:cubicBezTo>
                    <a:pt x="12" y="352"/>
                    <a:pt x="12" y="352"/>
                    <a:pt x="12" y="352"/>
                  </a:cubicBezTo>
                  <a:cubicBezTo>
                    <a:pt x="5" y="352"/>
                    <a:pt x="2" y="348"/>
                    <a:pt x="2" y="342"/>
                  </a:cubicBezTo>
                  <a:cubicBezTo>
                    <a:pt x="2" y="319"/>
                    <a:pt x="2" y="319"/>
                    <a:pt x="2" y="319"/>
                  </a:cubicBezTo>
                  <a:cubicBezTo>
                    <a:pt x="2" y="313"/>
                    <a:pt x="5" y="309"/>
                    <a:pt x="12" y="309"/>
                  </a:cubicBezTo>
                  <a:cubicBezTo>
                    <a:pt x="40" y="309"/>
                    <a:pt x="40" y="309"/>
                    <a:pt x="40" y="309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3" y="42"/>
                    <a:pt x="0" y="39"/>
                    <a:pt x="0" y="3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1" y="5"/>
                    <a:pt x="2" y="3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7" y="0"/>
                    <a:pt x="140" y="1"/>
                    <a:pt x="142" y="2"/>
                  </a:cubicBezTo>
                  <a:cubicBezTo>
                    <a:pt x="144" y="4"/>
                    <a:pt x="144" y="7"/>
                    <a:pt x="144" y="9"/>
                  </a:cubicBezTo>
                  <a:lnTo>
                    <a:pt x="144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7067549" y="1927226"/>
              <a:ext cx="407987" cy="546100"/>
            </a:xfrm>
            <a:custGeom>
              <a:avLst/>
              <a:gdLst>
                <a:gd name="T0" fmla="*/ 268 w 271"/>
                <a:gd name="T1" fmla="*/ 328 h 365"/>
                <a:gd name="T2" fmla="*/ 261 w 271"/>
                <a:gd name="T3" fmla="*/ 344 h 365"/>
                <a:gd name="T4" fmla="*/ 212 w 271"/>
                <a:gd name="T5" fmla="*/ 359 h 365"/>
                <a:gd name="T6" fmla="*/ 160 w 271"/>
                <a:gd name="T7" fmla="*/ 365 h 365"/>
                <a:gd name="T8" fmla="*/ 90 w 271"/>
                <a:gd name="T9" fmla="*/ 351 h 365"/>
                <a:gd name="T10" fmla="*/ 40 w 271"/>
                <a:gd name="T11" fmla="*/ 314 h 365"/>
                <a:gd name="T12" fmla="*/ 10 w 271"/>
                <a:gd name="T13" fmla="*/ 257 h 365"/>
                <a:gd name="T14" fmla="*/ 0 w 271"/>
                <a:gd name="T15" fmla="*/ 184 h 365"/>
                <a:gd name="T16" fmla="*/ 12 w 271"/>
                <a:gd name="T17" fmla="*/ 111 h 365"/>
                <a:gd name="T18" fmla="*/ 44 w 271"/>
                <a:gd name="T19" fmla="*/ 53 h 365"/>
                <a:gd name="T20" fmla="*/ 96 w 271"/>
                <a:gd name="T21" fmla="*/ 14 h 365"/>
                <a:gd name="T22" fmla="*/ 165 w 271"/>
                <a:gd name="T23" fmla="*/ 0 h 365"/>
                <a:gd name="T24" fmla="*/ 261 w 271"/>
                <a:gd name="T25" fmla="*/ 21 h 365"/>
                <a:gd name="T26" fmla="*/ 268 w 271"/>
                <a:gd name="T27" fmla="*/ 27 h 365"/>
                <a:gd name="T28" fmla="*/ 267 w 271"/>
                <a:gd name="T29" fmla="*/ 37 h 365"/>
                <a:gd name="T30" fmla="*/ 255 w 271"/>
                <a:gd name="T31" fmla="*/ 69 h 365"/>
                <a:gd name="T32" fmla="*/ 243 w 271"/>
                <a:gd name="T33" fmla="*/ 73 h 365"/>
                <a:gd name="T34" fmla="*/ 206 w 271"/>
                <a:gd name="T35" fmla="*/ 59 h 365"/>
                <a:gd name="T36" fmla="*/ 169 w 271"/>
                <a:gd name="T37" fmla="*/ 55 h 365"/>
                <a:gd name="T38" fmla="*/ 124 w 271"/>
                <a:gd name="T39" fmla="*/ 66 h 365"/>
                <a:gd name="T40" fmla="*/ 94 w 271"/>
                <a:gd name="T41" fmla="*/ 95 h 365"/>
                <a:gd name="T42" fmla="*/ 76 w 271"/>
                <a:gd name="T43" fmla="*/ 136 h 365"/>
                <a:gd name="T44" fmla="*/ 71 w 271"/>
                <a:gd name="T45" fmla="*/ 182 h 365"/>
                <a:gd name="T46" fmla="*/ 77 w 271"/>
                <a:gd name="T47" fmla="*/ 235 h 365"/>
                <a:gd name="T48" fmla="*/ 97 w 271"/>
                <a:gd name="T49" fmla="*/ 275 h 365"/>
                <a:gd name="T50" fmla="*/ 128 w 271"/>
                <a:gd name="T51" fmla="*/ 301 h 365"/>
                <a:gd name="T52" fmla="*/ 170 w 271"/>
                <a:gd name="T53" fmla="*/ 310 h 365"/>
                <a:gd name="T54" fmla="*/ 243 w 271"/>
                <a:gd name="T55" fmla="*/ 293 h 365"/>
                <a:gd name="T56" fmla="*/ 251 w 271"/>
                <a:gd name="T57" fmla="*/ 292 h 365"/>
                <a:gd name="T58" fmla="*/ 257 w 271"/>
                <a:gd name="T59" fmla="*/ 298 h 365"/>
                <a:gd name="T60" fmla="*/ 268 w 271"/>
                <a:gd name="T61" fmla="*/ 328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1" h="365">
                  <a:moveTo>
                    <a:pt x="268" y="328"/>
                  </a:moveTo>
                  <a:cubicBezTo>
                    <a:pt x="271" y="335"/>
                    <a:pt x="268" y="340"/>
                    <a:pt x="261" y="344"/>
                  </a:cubicBezTo>
                  <a:cubicBezTo>
                    <a:pt x="244" y="351"/>
                    <a:pt x="228" y="356"/>
                    <a:pt x="212" y="359"/>
                  </a:cubicBezTo>
                  <a:cubicBezTo>
                    <a:pt x="196" y="363"/>
                    <a:pt x="178" y="365"/>
                    <a:pt x="160" y="365"/>
                  </a:cubicBezTo>
                  <a:cubicBezTo>
                    <a:pt x="133" y="365"/>
                    <a:pt x="110" y="360"/>
                    <a:pt x="90" y="351"/>
                  </a:cubicBezTo>
                  <a:cubicBezTo>
                    <a:pt x="70" y="342"/>
                    <a:pt x="53" y="330"/>
                    <a:pt x="40" y="314"/>
                  </a:cubicBezTo>
                  <a:cubicBezTo>
                    <a:pt x="27" y="298"/>
                    <a:pt x="17" y="279"/>
                    <a:pt x="10" y="257"/>
                  </a:cubicBezTo>
                  <a:cubicBezTo>
                    <a:pt x="4" y="234"/>
                    <a:pt x="0" y="210"/>
                    <a:pt x="0" y="184"/>
                  </a:cubicBezTo>
                  <a:cubicBezTo>
                    <a:pt x="0" y="158"/>
                    <a:pt x="4" y="134"/>
                    <a:pt x="12" y="111"/>
                  </a:cubicBezTo>
                  <a:cubicBezTo>
                    <a:pt x="19" y="89"/>
                    <a:pt x="30" y="70"/>
                    <a:pt x="44" y="53"/>
                  </a:cubicBezTo>
                  <a:cubicBezTo>
                    <a:pt x="59" y="36"/>
                    <a:pt x="76" y="23"/>
                    <a:pt x="96" y="14"/>
                  </a:cubicBezTo>
                  <a:cubicBezTo>
                    <a:pt x="117" y="5"/>
                    <a:pt x="140" y="0"/>
                    <a:pt x="165" y="0"/>
                  </a:cubicBezTo>
                  <a:cubicBezTo>
                    <a:pt x="200" y="0"/>
                    <a:pt x="231" y="7"/>
                    <a:pt x="261" y="21"/>
                  </a:cubicBezTo>
                  <a:cubicBezTo>
                    <a:pt x="265" y="24"/>
                    <a:pt x="267" y="25"/>
                    <a:pt x="268" y="27"/>
                  </a:cubicBezTo>
                  <a:cubicBezTo>
                    <a:pt x="269" y="29"/>
                    <a:pt x="269" y="32"/>
                    <a:pt x="267" y="37"/>
                  </a:cubicBezTo>
                  <a:cubicBezTo>
                    <a:pt x="255" y="69"/>
                    <a:pt x="255" y="69"/>
                    <a:pt x="255" y="69"/>
                  </a:cubicBezTo>
                  <a:cubicBezTo>
                    <a:pt x="253" y="75"/>
                    <a:pt x="249" y="77"/>
                    <a:pt x="243" y="73"/>
                  </a:cubicBezTo>
                  <a:cubicBezTo>
                    <a:pt x="230" y="67"/>
                    <a:pt x="218" y="62"/>
                    <a:pt x="206" y="59"/>
                  </a:cubicBezTo>
                  <a:cubicBezTo>
                    <a:pt x="194" y="56"/>
                    <a:pt x="182" y="55"/>
                    <a:pt x="169" y="55"/>
                  </a:cubicBezTo>
                  <a:cubicBezTo>
                    <a:pt x="151" y="55"/>
                    <a:pt x="136" y="59"/>
                    <a:pt x="124" y="66"/>
                  </a:cubicBezTo>
                  <a:cubicBezTo>
                    <a:pt x="112" y="74"/>
                    <a:pt x="101" y="83"/>
                    <a:pt x="94" y="95"/>
                  </a:cubicBezTo>
                  <a:cubicBezTo>
                    <a:pt x="86" y="107"/>
                    <a:pt x="80" y="121"/>
                    <a:pt x="76" y="136"/>
                  </a:cubicBezTo>
                  <a:cubicBezTo>
                    <a:pt x="73" y="151"/>
                    <a:pt x="71" y="166"/>
                    <a:pt x="71" y="182"/>
                  </a:cubicBezTo>
                  <a:cubicBezTo>
                    <a:pt x="71" y="201"/>
                    <a:pt x="73" y="219"/>
                    <a:pt x="77" y="235"/>
                  </a:cubicBezTo>
                  <a:cubicBezTo>
                    <a:pt x="82" y="250"/>
                    <a:pt x="88" y="264"/>
                    <a:pt x="97" y="275"/>
                  </a:cubicBezTo>
                  <a:cubicBezTo>
                    <a:pt x="105" y="286"/>
                    <a:pt x="116" y="295"/>
                    <a:pt x="128" y="301"/>
                  </a:cubicBezTo>
                  <a:cubicBezTo>
                    <a:pt x="140" y="307"/>
                    <a:pt x="154" y="310"/>
                    <a:pt x="170" y="310"/>
                  </a:cubicBezTo>
                  <a:cubicBezTo>
                    <a:pt x="194" y="310"/>
                    <a:pt x="219" y="304"/>
                    <a:pt x="243" y="293"/>
                  </a:cubicBezTo>
                  <a:cubicBezTo>
                    <a:pt x="247" y="292"/>
                    <a:pt x="249" y="291"/>
                    <a:pt x="251" y="292"/>
                  </a:cubicBezTo>
                  <a:cubicBezTo>
                    <a:pt x="253" y="292"/>
                    <a:pt x="255" y="294"/>
                    <a:pt x="257" y="298"/>
                  </a:cubicBezTo>
                  <a:lnTo>
                    <a:pt x="268" y="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54" name="Freeform 16"/>
            <p:cNvSpPr>
              <a:spLocks noEditPoints="1"/>
            </p:cNvSpPr>
            <p:nvPr userDrawn="1"/>
          </p:nvSpPr>
          <p:spPr bwMode="auto">
            <a:xfrm>
              <a:off x="7523161" y="1927226"/>
              <a:ext cx="463550" cy="546100"/>
            </a:xfrm>
            <a:custGeom>
              <a:avLst/>
              <a:gdLst>
                <a:gd name="T0" fmla="*/ 309 w 309"/>
                <a:gd name="T1" fmla="*/ 181 h 365"/>
                <a:gd name="T2" fmla="*/ 298 w 309"/>
                <a:gd name="T3" fmla="*/ 258 h 365"/>
                <a:gd name="T4" fmla="*/ 265 w 309"/>
                <a:gd name="T5" fmla="*/ 316 h 365"/>
                <a:gd name="T6" fmla="*/ 215 w 309"/>
                <a:gd name="T7" fmla="*/ 352 h 365"/>
                <a:gd name="T8" fmla="*/ 153 w 309"/>
                <a:gd name="T9" fmla="*/ 365 h 365"/>
                <a:gd name="T10" fmla="*/ 88 w 309"/>
                <a:gd name="T11" fmla="*/ 352 h 365"/>
                <a:gd name="T12" fmla="*/ 40 w 309"/>
                <a:gd name="T13" fmla="*/ 316 h 365"/>
                <a:gd name="T14" fmla="*/ 10 w 309"/>
                <a:gd name="T15" fmla="*/ 258 h 365"/>
                <a:gd name="T16" fmla="*/ 0 w 309"/>
                <a:gd name="T17" fmla="*/ 184 h 365"/>
                <a:gd name="T18" fmla="*/ 11 w 309"/>
                <a:gd name="T19" fmla="*/ 109 h 365"/>
                <a:gd name="T20" fmla="*/ 42 w 309"/>
                <a:gd name="T21" fmla="*/ 51 h 365"/>
                <a:gd name="T22" fmla="*/ 91 w 309"/>
                <a:gd name="T23" fmla="*/ 13 h 365"/>
                <a:gd name="T24" fmla="*/ 156 w 309"/>
                <a:gd name="T25" fmla="*/ 0 h 365"/>
                <a:gd name="T26" fmla="*/ 223 w 309"/>
                <a:gd name="T27" fmla="*/ 14 h 365"/>
                <a:gd name="T28" fmla="*/ 271 w 309"/>
                <a:gd name="T29" fmla="*/ 51 h 365"/>
                <a:gd name="T30" fmla="*/ 300 w 309"/>
                <a:gd name="T31" fmla="*/ 108 h 365"/>
                <a:gd name="T32" fmla="*/ 309 w 309"/>
                <a:gd name="T33" fmla="*/ 181 h 365"/>
                <a:gd name="T34" fmla="*/ 239 w 309"/>
                <a:gd name="T35" fmla="*/ 182 h 365"/>
                <a:gd name="T36" fmla="*/ 218 w 309"/>
                <a:gd name="T37" fmla="*/ 87 h 365"/>
                <a:gd name="T38" fmla="*/ 155 w 309"/>
                <a:gd name="T39" fmla="*/ 56 h 365"/>
                <a:gd name="T40" fmla="*/ 120 w 309"/>
                <a:gd name="T41" fmla="*/ 64 h 365"/>
                <a:gd name="T42" fmla="*/ 93 w 309"/>
                <a:gd name="T43" fmla="*/ 89 h 365"/>
                <a:gd name="T44" fmla="*/ 76 w 309"/>
                <a:gd name="T45" fmla="*/ 129 h 365"/>
                <a:gd name="T46" fmla="*/ 70 w 309"/>
                <a:gd name="T47" fmla="*/ 182 h 365"/>
                <a:gd name="T48" fmla="*/ 92 w 309"/>
                <a:gd name="T49" fmla="*/ 277 h 365"/>
                <a:gd name="T50" fmla="*/ 155 w 309"/>
                <a:gd name="T51" fmla="*/ 309 h 365"/>
                <a:gd name="T52" fmla="*/ 216 w 309"/>
                <a:gd name="T53" fmla="*/ 277 h 365"/>
                <a:gd name="T54" fmla="*/ 239 w 309"/>
                <a:gd name="T55" fmla="*/ 182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9" h="365">
                  <a:moveTo>
                    <a:pt x="309" y="181"/>
                  </a:moveTo>
                  <a:cubicBezTo>
                    <a:pt x="309" y="209"/>
                    <a:pt x="305" y="235"/>
                    <a:pt x="298" y="258"/>
                  </a:cubicBezTo>
                  <a:cubicBezTo>
                    <a:pt x="290" y="281"/>
                    <a:pt x="279" y="300"/>
                    <a:pt x="265" y="316"/>
                  </a:cubicBezTo>
                  <a:cubicBezTo>
                    <a:pt x="251" y="331"/>
                    <a:pt x="235" y="343"/>
                    <a:pt x="215" y="352"/>
                  </a:cubicBezTo>
                  <a:cubicBezTo>
                    <a:pt x="196" y="360"/>
                    <a:pt x="175" y="365"/>
                    <a:pt x="153" y="365"/>
                  </a:cubicBezTo>
                  <a:cubicBezTo>
                    <a:pt x="128" y="365"/>
                    <a:pt x="107" y="360"/>
                    <a:pt x="88" y="352"/>
                  </a:cubicBezTo>
                  <a:cubicBezTo>
                    <a:pt x="69" y="343"/>
                    <a:pt x="53" y="331"/>
                    <a:pt x="40" y="316"/>
                  </a:cubicBezTo>
                  <a:cubicBezTo>
                    <a:pt x="27" y="300"/>
                    <a:pt x="17" y="281"/>
                    <a:pt x="10" y="258"/>
                  </a:cubicBezTo>
                  <a:cubicBezTo>
                    <a:pt x="3" y="236"/>
                    <a:pt x="0" y="211"/>
                    <a:pt x="0" y="184"/>
                  </a:cubicBezTo>
                  <a:cubicBezTo>
                    <a:pt x="0" y="156"/>
                    <a:pt x="3" y="131"/>
                    <a:pt x="11" y="109"/>
                  </a:cubicBezTo>
                  <a:cubicBezTo>
                    <a:pt x="18" y="86"/>
                    <a:pt x="28" y="67"/>
                    <a:pt x="42" y="51"/>
                  </a:cubicBezTo>
                  <a:cubicBezTo>
                    <a:pt x="56" y="35"/>
                    <a:pt x="72" y="22"/>
                    <a:pt x="91" y="13"/>
                  </a:cubicBezTo>
                  <a:cubicBezTo>
                    <a:pt x="111" y="5"/>
                    <a:pt x="132" y="0"/>
                    <a:pt x="156" y="0"/>
                  </a:cubicBezTo>
                  <a:cubicBezTo>
                    <a:pt x="181" y="0"/>
                    <a:pt x="203" y="5"/>
                    <a:pt x="223" y="14"/>
                  </a:cubicBezTo>
                  <a:cubicBezTo>
                    <a:pt x="242" y="23"/>
                    <a:pt x="258" y="35"/>
                    <a:pt x="271" y="51"/>
                  </a:cubicBezTo>
                  <a:cubicBezTo>
                    <a:pt x="284" y="67"/>
                    <a:pt x="293" y="86"/>
                    <a:pt x="300" y="108"/>
                  </a:cubicBezTo>
                  <a:cubicBezTo>
                    <a:pt x="306" y="130"/>
                    <a:pt x="309" y="154"/>
                    <a:pt x="309" y="181"/>
                  </a:cubicBezTo>
                  <a:close/>
                  <a:moveTo>
                    <a:pt x="239" y="182"/>
                  </a:moveTo>
                  <a:cubicBezTo>
                    <a:pt x="239" y="139"/>
                    <a:pt x="232" y="107"/>
                    <a:pt x="218" y="87"/>
                  </a:cubicBezTo>
                  <a:cubicBezTo>
                    <a:pt x="203" y="66"/>
                    <a:pt x="182" y="56"/>
                    <a:pt x="155" y="56"/>
                  </a:cubicBezTo>
                  <a:cubicBezTo>
                    <a:pt x="142" y="56"/>
                    <a:pt x="130" y="58"/>
                    <a:pt x="120" y="64"/>
                  </a:cubicBezTo>
                  <a:cubicBezTo>
                    <a:pt x="110" y="70"/>
                    <a:pt x="101" y="78"/>
                    <a:pt x="93" y="89"/>
                  </a:cubicBezTo>
                  <a:cubicBezTo>
                    <a:pt x="86" y="100"/>
                    <a:pt x="80" y="113"/>
                    <a:pt x="76" y="129"/>
                  </a:cubicBezTo>
                  <a:cubicBezTo>
                    <a:pt x="72" y="145"/>
                    <a:pt x="70" y="162"/>
                    <a:pt x="70" y="182"/>
                  </a:cubicBezTo>
                  <a:cubicBezTo>
                    <a:pt x="70" y="224"/>
                    <a:pt x="77" y="256"/>
                    <a:pt x="92" y="277"/>
                  </a:cubicBezTo>
                  <a:cubicBezTo>
                    <a:pt x="107" y="299"/>
                    <a:pt x="128" y="309"/>
                    <a:pt x="155" y="309"/>
                  </a:cubicBezTo>
                  <a:cubicBezTo>
                    <a:pt x="180" y="309"/>
                    <a:pt x="201" y="298"/>
                    <a:pt x="216" y="277"/>
                  </a:cubicBezTo>
                  <a:cubicBezTo>
                    <a:pt x="231" y="255"/>
                    <a:pt x="239" y="224"/>
                    <a:pt x="239" y="1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55" name="Freeform 17"/>
            <p:cNvSpPr>
              <a:spLocks/>
            </p:cNvSpPr>
            <p:nvPr userDrawn="1"/>
          </p:nvSpPr>
          <p:spPr bwMode="auto">
            <a:xfrm>
              <a:off x="8056561" y="1927226"/>
              <a:ext cx="344487" cy="546100"/>
            </a:xfrm>
            <a:custGeom>
              <a:avLst/>
              <a:gdLst>
                <a:gd name="T0" fmla="*/ 230 w 230"/>
                <a:gd name="T1" fmla="*/ 256 h 365"/>
                <a:gd name="T2" fmla="*/ 220 w 230"/>
                <a:gd name="T3" fmla="*/ 303 h 365"/>
                <a:gd name="T4" fmla="*/ 193 w 230"/>
                <a:gd name="T5" fmla="*/ 337 h 365"/>
                <a:gd name="T6" fmla="*/ 154 w 230"/>
                <a:gd name="T7" fmla="*/ 357 h 365"/>
                <a:gd name="T8" fmla="*/ 107 w 230"/>
                <a:gd name="T9" fmla="*/ 365 h 365"/>
                <a:gd name="T10" fmla="*/ 58 w 230"/>
                <a:gd name="T11" fmla="*/ 361 h 365"/>
                <a:gd name="T12" fmla="*/ 10 w 230"/>
                <a:gd name="T13" fmla="*/ 348 h 365"/>
                <a:gd name="T14" fmla="*/ 1 w 230"/>
                <a:gd name="T15" fmla="*/ 342 h 365"/>
                <a:gd name="T16" fmla="*/ 2 w 230"/>
                <a:gd name="T17" fmla="*/ 332 h 365"/>
                <a:gd name="T18" fmla="*/ 13 w 230"/>
                <a:gd name="T19" fmla="*/ 299 h 365"/>
                <a:gd name="T20" fmla="*/ 19 w 230"/>
                <a:gd name="T21" fmla="*/ 291 h 365"/>
                <a:gd name="T22" fmla="*/ 30 w 230"/>
                <a:gd name="T23" fmla="*/ 292 h 365"/>
                <a:gd name="T24" fmla="*/ 67 w 230"/>
                <a:gd name="T25" fmla="*/ 303 h 365"/>
                <a:gd name="T26" fmla="*/ 105 w 230"/>
                <a:gd name="T27" fmla="*/ 308 h 365"/>
                <a:gd name="T28" fmla="*/ 126 w 230"/>
                <a:gd name="T29" fmla="*/ 305 h 365"/>
                <a:gd name="T30" fmla="*/ 145 w 230"/>
                <a:gd name="T31" fmla="*/ 297 h 365"/>
                <a:gd name="T32" fmla="*/ 158 w 230"/>
                <a:gd name="T33" fmla="*/ 283 h 365"/>
                <a:gd name="T34" fmla="*/ 164 w 230"/>
                <a:gd name="T35" fmla="*/ 262 h 365"/>
                <a:gd name="T36" fmla="*/ 153 w 230"/>
                <a:gd name="T37" fmla="*/ 234 h 365"/>
                <a:gd name="T38" fmla="*/ 127 w 230"/>
                <a:gd name="T39" fmla="*/ 217 h 365"/>
                <a:gd name="T40" fmla="*/ 61 w 230"/>
                <a:gd name="T41" fmla="*/ 184 h 365"/>
                <a:gd name="T42" fmla="*/ 17 w 230"/>
                <a:gd name="T43" fmla="*/ 148 h 365"/>
                <a:gd name="T44" fmla="*/ 1 w 230"/>
                <a:gd name="T45" fmla="*/ 96 h 365"/>
                <a:gd name="T46" fmla="*/ 11 w 230"/>
                <a:gd name="T47" fmla="*/ 55 h 365"/>
                <a:gd name="T48" fmla="*/ 38 w 230"/>
                <a:gd name="T49" fmla="*/ 25 h 365"/>
                <a:gd name="T50" fmla="*/ 76 w 230"/>
                <a:gd name="T51" fmla="*/ 6 h 365"/>
                <a:gd name="T52" fmla="*/ 118 w 230"/>
                <a:gd name="T53" fmla="*/ 0 h 365"/>
                <a:gd name="T54" fmla="*/ 165 w 230"/>
                <a:gd name="T55" fmla="*/ 4 h 365"/>
                <a:gd name="T56" fmla="*/ 209 w 230"/>
                <a:gd name="T57" fmla="*/ 18 h 365"/>
                <a:gd name="T58" fmla="*/ 218 w 230"/>
                <a:gd name="T59" fmla="*/ 25 h 365"/>
                <a:gd name="T60" fmla="*/ 218 w 230"/>
                <a:gd name="T61" fmla="*/ 35 h 365"/>
                <a:gd name="T62" fmla="*/ 205 w 230"/>
                <a:gd name="T63" fmla="*/ 66 h 365"/>
                <a:gd name="T64" fmla="*/ 199 w 230"/>
                <a:gd name="T65" fmla="*/ 73 h 365"/>
                <a:gd name="T66" fmla="*/ 189 w 230"/>
                <a:gd name="T67" fmla="*/ 71 h 365"/>
                <a:gd name="T68" fmla="*/ 155 w 230"/>
                <a:gd name="T69" fmla="*/ 60 h 365"/>
                <a:gd name="T70" fmla="*/ 122 w 230"/>
                <a:gd name="T71" fmla="*/ 56 h 365"/>
                <a:gd name="T72" fmla="*/ 103 w 230"/>
                <a:gd name="T73" fmla="*/ 58 h 365"/>
                <a:gd name="T74" fmla="*/ 87 w 230"/>
                <a:gd name="T75" fmla="*/ 64 h 365"/>
                <a:gd name="T76" fmla="*/ 75 w 230"/>
                <a:gd name="T77" fmla="*/ 76 h 365"/>
                <a:gd name="T78" fmla="*/ 70 w 230"/>
                <a:gd name="T79" fmla="*/ 94 h 365"/>
                <a:gd name="T80" fmla="*/ 73 w 230"/>
                <a:gd name="T81" fmla="*/ 108 h 365"/>
                <a:gd name="T82" fmla="*/ 82 w 230"/>
                <a:gd name="T83" fmla="*/ 120 h 365"/>
                <a:gd name="T84" fmla="*/ 94 w 230"/>
                <a:gd name="T85" fmla="*/ 128 h 365"/>
                <a:gd name="T86" fmla="*/ 106 w 230"/>
                <a:gd name="T87" fmla="*/ 135 h 365"/>
                <a:gd name="T88" fmla="*/ 163 w 230"/>
                <a:gd name="T89" fmla="*/ 163 h 365"/>
                <a:gd name="T90" fmla="*/ 211 w 230"/>
                <a:gd name="T91" fmla="*/ 199 h 365"/>
                <a:gd name="T92" fmla="*/ 230 w 230"/>
                <a:gd name="T93" fmla="*/ 256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0" h="365">
                  <a:moveTo>
                    <a:pt x="230" y="256"/>
                  </a:moveTo>
                  <a:cubicBezTo>
                    <a:pt x="230" y="273"/>
                    <a:pt x="227" y="289"/>
                    <a:pt x="220" y="303"/>
                  </a:cubicBezTo>
                  <a:cubicBezTo>
                    <a:pt x="213" y="316"/>
                    <a:pt x="204" y="328"/>
                    <a:pt x="193" y="337"/>
                  </a:cubicBezTo>
                  <a:cubicBezTo>
                    <a:pt x="182" y="346"/>
                    <a:pt x="169" y="353"/>
                    <a:pt x="154" y="357"/>
                  </a:cubicBezTo>
                  <a:cubicBezTo>
                    <a:pt x="139" y="362"/>
                    <a:pt x="123" y="365"/>
                    <a:pt x="107" y="365"/>
                  </a:cubicBezTo>
                  <a:cubicBezTo>
                    <a:pt x="91" y="365"/>
                    <a:pt x="75" y="363"/>
                    <a:pt x="58" y="361"/>
                  </a:cubicBezTo>
                  <a:cubicBezTo>
                    <a:pt x="41" y="358"/>
                    <a:pt x="25" y="354"/>
                    <a:pt x="10" y="348"/>
                  </a:cubicBezTo>
                  <a:cubicBezTo>
                    <a:pt x="5" y="347"/>
                    <a:pt x="2" y="344"/>
                    <a:pt x="1" y="342"/>
                  </a:cubicBezTo>
                  <a:cubicBezTo>
                    <a:pt x="0" y="339"/>
                    <a:pt x="1" y="336"/>
                    <a:pt x="2" y="332"/>
                  </a:cubicBezTo>
                  <a:cubicBezTo>
                    <a:pt x="13" y="299"/>
                    <a:pt x="13" y="299"/>
                    <a:pt x="13" y="299"/>
                  </a:cubicBezTo>
                  <a:cubicBezTo>
                    <a:pt x="14" y="295"/>
                    <a:pt x="16" y="292"/>
                    <a:pt x="19" y="291"/>
                  </a:cubicBezTo>
                  <a:cubicBezTo>
                    <a:pt x="22" y="290"/>
                    <a:pt x="25" y="291"/>
                    <a:pt x="30" y="292"/>
                  </a:cubicBezTo>
                  <a:cubicBezTo>
                    <a:pt x="41" y="297"/>
                    <a:pt x="54" y="300"/>
                    <a:pt x="67" y="303"/>
                  </a:cubicBezTo>
                  <a:cubicBezTo>
                    <a:pt x="79" y="306"/>
                    <a:pt x="92" y="308"/>
                    <a:pt x="105" y="308"/>
                  </a:cubicBezTo>
                  <a:cubicBezTo>
                    <a:pt x="112" y="308"/>
                    <a:pt x="119" y="307"/>
                    <a:pt x="126" y="305"/>
                  </a:cubicBezTo>
                  <a:cubicBezTo>
                    <a:pt x="133" y="303"/>
                    <a:pt x="139" y="301"/>
                    <a:pt x="145" y="297"/>
                  </a:cubicBezTo>
                  <a:cubicBezTo>
                    <a:pt x="150" y="293"/>
                    <a:pt x="155" y="289"/>
                    <a:pt x="158" y="283"/>
                  </a:cubicBezTo>
                  <a:cubicBezTo>
                    <a:pt x="162" y="277"/>
                    <a:pt x="164" y="271"/>
                    <a:pt x="164" y="262"/>
                  </a:cubicBezTo>
                  <a:cubicBezTo>
                    <a:pt x="164" y="251"/>
                    <a:pt x="160" y="241"/>
                    <a:pt x="153" y="234"/>
                  </a:cubicBezTo>
                  <a:cubicBezTo>
                    <a:pt x="145" y="227"/>
                    <a:pt x="136" y="221"/>
                    <a:pt x="127" y="217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42" y="175"/>
                    <a:pt x="28" y="163"/>
                    <a:pt x="17" y="148"/>
                  </a:cubicBezTo>
                  <a:cubicBezTo>
                    <a:pt x="6" y="134"/>
                    <a:pt x="1" y="116"/>
                    <a:pt x="1" y="96"/>
                  </a:cubicBezTo>
                  <a:cubicBezTo>
                    <a:pt x="1" y="81"/>
                    <a:pt x="4" y="67"/>
                    <a:pt x="11" y="55"/>
                  </a:cubicBezTo>
                  <a:cubicBezTo>
                    <a:pt x="18" y="43"/>
                    <a:pt x="27" y="33"/>
                    <a:pt x="38" y="25"/>
                  </a:cubicBezTo>
                  <a:cubicBezTo>
                    <a:pt x="49" y="17"/>
                    <a:pt x="62" y="11"/>
                    <a:pt x="76" y="6"/>
                  </a:cubicBezTo>
                  <a:cubicBezTo>
                    <a:pt x="90" y="2"/>
                    <a:pt x="104" y="0"/>
                    <a:pt x="118" y="0"/>
                  </a:cubicBezTo>
                  <a:cubicBezTo>
                    <a:pt x="135" y="0"/>
                    <a:pt x="151" y="1"/>
                    <a:pt x="165" y="4"/>
                  </a:cubicBezTo>
                  <a:cubicBezTo>
                    <a:pt x="179" y="7"/>
                    <a:pt x="194" y="11"/>
                    <a:pt x="209" y="18"/>
                  </a:cubicBezTo>
                  <a:cubicBezTo>
                    <a:pt x="214" y="20"/>
                    <a:pt x="217" y="22"/>
                    <a:pt x="218" y="25"/>
                  </a:cubicBezTo>
                  <a:cubicBezTo>
                    <a:pt x="219" y="27"/>
                    <a:pt x="219" y="30"/>
                    <a:pt x="218" y="35"/>
                  </a:cubicBezTo>
                  <a:cubicBezTo>
                    <a:pt x="205" y="66"/>
                    <a:pt x="205" y="66"/>
                    <a:pt x="205" y="66"/>
                  </a:cubicBezTo>
                  <a:cubicBezTo>
                    <a:pt x="204" y="70"/>
                    <a:pt x="202" y="73"/>
                    <a:pt x="199" y="73"/>
                  </a:cubicBezTo>
                  <a:cubicBezTo>
                    <a:pt x="196" y="74"/>
                    <a:pt x="193" y="73"/>
                    <a:pt x="189" y="71"/>
                  </a:cubicBezTo>
                  <a:cubicBezTo>
                    <a:pt x="178" y="67"/>
                    <a:pt x="166" y="63"/>
                    <a:pt x="155" y="60"/>
                  </a:cubicBezTo>
                  <a:cubicBezTo>
                    <a:pt x="143" y="57"/>
                    <a:pt x="132" y="56"/>
                    <a:pt x="122" y="56"/>
                  </a:cubicBezTo>
                  <a:cubicBezTo>
                    <a:pt x="115" y="56"/>
                    <a:pt x="109" y="56"/>
                    <a:pt x="103" y="58"/>
                  </a:cubicBezTo>
                  <a:cubicBezTo>
                    <a:pt x="97" y="59"/>
                    <a:pt x="92" y="61"/>
                    <a:pt x="87" y="64"/>
                  </a:cubicBezTo>
                  <a:cubicBezTo>
                    <a:pt x="82" y="67"/>
                    <a:pt x="78" y="71"/>
                    <a:pt x="75" y="76"/>
                  </a:cubicBezTo>
                  <a:cubicBezTo>
                    <a:pt x="72" y="81"/>
                    <a:pt x="70" y="87"/>
                    <a:pt x="70" y="94"/>
                  </a:cubicBezTo>
                  <a:cubicBezTo>
                    <a:pt x="70" y="99"/>
                    <a:pt x="71" y="104"/>
                    <a:pt x="73" y="108"/>
                  </a:cubicBezTo>
                  <a:cubicBezTo>
                    <a:pt x="76" y="112"/>
                    <a:pt x="78" y="116"/>
                    <a:pt x="82" y="120"/>
                  </a:cubicBezTo>
                  <a:cubicBezTo>
                    <a:pt x="85" y="123"/>
                    <a:pt x="89" y="126"/>
                    <a:pt x="94" y="128"/>
                  </a:cubicBezTo>
                  <a:cubicBezTo>
                    <a:pt x="98" y="131"/>
                    <a:pt x="102" y="133"/>
                    <a:pt x="106" y="135"/>
                  </a:cubicBezTo>
                  <a:cubicBezTo>
                    <a:pt x="163" y="163"/>
                    <a:pt x="163" y="163"/>
                    <a:pt x="163" y="163"/>
                  </a:cubicBezTo>
                  <a:cubicBezTo>
                    <a:pt x="183" y="173"/>
                    <a:pt x="199" y="185"/>
                    <a:pt x="211" y="199"/>
                  </a:cubicBezTo>
                  <a:cubicBezTo>
                    <a:pt x="224" y="214"/>
                    <a:pt x="230" y="232"/>
                    <a:pt x="230" y="2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56" name="Freeform 18"/>
            <p:cNvSpPr>
              <a:spLocks noEditPoints="1"/>
            </p:cNvSpPr>
            <p:nvPr userDrawn="1"/>
          </p:nvSpPr>
          <p:spPr bwMode="auto">
            <a:xfrm>
              <a:off x="6475411" y="2735263"/>
              <a:ext cx="146050" cy="206375"/>
            </a:xfrm>
            <a:custGeom>
              <a:avLst/>
              <a:gdLst>
                <a:gd name="T0" fmla="*/ 97 w 97"/>
                <a:gd name="T1" fmla="*/ 44 h 137"/>
                <a:gd name="T2" fmla="*/ 92 w 97"/>
                <a:gd name="T3" fmla="*/ 65 h 137"/>
                <a:gd name="T4" fmla="*/ 81 w 97"/>
                <a:gd name="T5" fmla="*/ 80 h 137"/>
                <a:gd name="T6" fmla="*/ 64 w 97"/>
                <a:gd name="T7" fmla="*/ 89 h 137"/>
                <a:gd name="T8" fmla="*/ 43 w 97"/>
                <a:gd name="T9" fmla="*/ 92 h 137"/>
                <a:gd name="T10" fmla="*/ 32 w 97"/>
                <a:gd name="T11" fmla="*/ 92 h 137"/>
                <a:gd name="T12" fmla="*/ 32 w 97"/>
                <a:gd name="T13" fmla="*/ 132 h 137"/>
                <a:gd name="T14" fmla="*/ 31 w 97"/>
                <a:gd name="T15" fmla="*/ 136 h 137"/>
                <a:gd name="T16" fmla="*/ 26 w 97"/>
                <a:gd name="T17" fmla="*/ 137 h 137"/>
                <a:gd name="T18" fmla="*/ 6 w 97"/>
                <a:gd name="T19" fmla="*/ 137 h 137"/>
                <a:gd name="T20" fmla="*/ 2 w 97"/>
                <a:gd name="T21" fmla="*/ 136 h 137"/>
                <a:gd name="T22" fmla="*/ 0 w 97"/>
                <a:gd name="T23" fmla="*/ 132 h 137"/>
                <a:gd name="T24" fmla="*/ 0 w 97"/>
                <a:gd name="T25" fmla="*/ 6 h 137"/>
                <a:gd name="T26" fmla="*/ 2 w 97"/>
                <a:gd name="T27" fmla="*/ 1 h 137"/>
                <a:gd name="T28" fmla="*/ 6 w 97"/>
                <a:gd name="T29" fmla="*/ 0 h 137"/>
                <a:gd name="T30" fmla="*/ 37 w 97"/>
                <a:gd name="T31" fmla="*/ 0 h 137"/>
                <a:gd name="T32" fmla="*/ 67 w 97"/>
                <a:gd name="T33" fmla="*/ 3 h 137"/>
                <a:gd name="T34" fmla="*/ 86 w 97"/>
                <a:gd name="T35" fmla="*/ 15 h 137"/>
                <a:gd name="T36" fmla="*/ 94 w 97"/>
                <a:gd name="T37" fmla="*/ 28 h 137"/>
                <a:gd name="T38" fmla="*/ 97 w 97"/>
                <a:gd name="T39" fmla="*/ 44 h 137"/>
                <a:gd name="T40" fmla="*/ 65 w 97"/>
                <a:gd name="T41" fmla="*/ 45 h 137"/>
                <a:gd name="T42" fmla="*/ 59 w 97"/>
                <a:gd name="T43" fmla="*/ 29 h 137"/>
                <a:gd name="T44" fmla="*/ 41 w 97"/>
                <a:gd name="T45" fmla="*/ 24 h 137"/>
                <a:gd name="T46" fmla="*/ 32 w 97"/>
                <a:gd name="T47" fmla="*/ 24 h 137"/>
                <a:gd name="T48" fmla="*/ 32 w 97"/>
                <a:gd name="T49" fmla="*/ 67 h 137"/>
                <a:gd name="T50" fmla="*/ 40 w 97"/>
                <a:gd name="T51" fmla="*/ 67 h 137"/>
                <a:gd name="T52" fmla="*/ 50 w 97"/>
                <a:gd name="T53" fmla="*/ 66 h 137"/>
                <a:gd name="T54" fmla="*/ 58 w 97"/>
                <a:gd name="T55" fmla="*/ 63 h 137"/>
                <a:gd name="T56" fmla="*/ 63 w 97"/>
                <a:gd name="T57" fmla="*/ 56 h 137"/>
                <a:gd name="T58" fmla="*/ 65 w 97"/>
                <a:gd name="T59" fmla="*/ 4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7" h="137">
                  <a:moveTo>
                    <a:pt x="97" y="44"/>
                  </a:moveTo>
                  <a:cubicBezTo>
                    <a:pt x="97" y="52"/>
                    <a:pt x="95" y="59"/>
                    <a:pt x="92" y="65"/>
                  </a:cubicBezTo>
                  <a:cubicBezTo>
                    <a:pt x="90" y="71"/>
                    <a:pt x="86" y="76"/>
                    <a:pt x="81" y="80"/>
                  </a:cubicBezTo>
                  <a:cubicBezTo>
                    <a:pt x="76" y="84"/>
                    <a:pt x="70" y="87"/>
                    <a:pt x="64" y="89"/>
                  </a:cubicBezTo>
                  <a:cubicBezTo>
                    <a:pt x="57" y="91"/>
                    <a:pt x="50" y="92"/>
                    <a:pt x="43" y="92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3"/>
                    <a:pt x="31" y="135"/>
                    <a:pt x="31" y="136"/>
                  </a:cubicBezTo>
                  <a:cubicBezTo>
                    <a:pt x="30" y="137"/>
                    <a:pt x="28" y="137"/>
                    <a:pt x="26" y="137"/>
                  </a:cubicBezTo>
                  <a:cubicBezTo>
                    <a:pt x="6" y="137"/>
                    <a:pt x="6" y="137"/>
                    <a:pt x="6" y="137"/>
                  </a:cubicBezTo>
                  <a:cubicBezTo>
                    <a:pt x="4" y="137"/>
                    <a:pt x="3" y="137"/>
                    <a:pt x="2" y="136"/>
                  </a:cubicBezTo>
                  <a:cubicBezTo>
                    <a:pt x="1" y="136"/>
                    <a:pt x="0" y="134"/>
                    <a:pt x="0" y="1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9" y="0"/>
                    <a:pt x="59" y="1"/>
                    <a:pt x="67" y="3"/>
                  </a:cubicBezTo>
                  <a:cubicBezTo>
                    <a:pt x="75" y="5"/>
                    <a:pt x="81" y="9"/>
                    <a:pt x="86" y="15"/>
                  </a:cubicBezTo>
                  <a:cubicBezTo>
                    <a:pt x="90" y="19"/>
                    <a:pt x="92" y="23"/>
                    <a:pt x="94" y="28"/>
                  </a:cubicBezTo>
                  <a:cubicBezTo>
                    <a:pt x="96" y="34"/>
                    <a:pt x="97" y="39"/>
                    <a:pt x="97" y="44"/>
                  </a:cubicBezTo>
                  <a:close/>
                  <a:moveTo>
                    <a:pt x="65" y="45"/>
                  </a:moveTo>
                  <a:cubicBezTo>
                    <a:pt x="65" y="38"/>
                    <a:pt x="63" y="33"/>
                    <a:pt x="59" y="29"/>
                  </a:cubicBezTo>
                  <a:cubicBezTo>
                    <a:pt x="55" y="26"/>
                    <a:pt x="49" y="24"/>
                    <a:pt x="41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40" y="67"/>
                    <a:pt x="40" y="67"/>
                    <a:pt x="40" y="67"/>
                  </a:cubicBezTo>
                  <a:cubicBezTo>
                    <a:pt x="44" y="67"/>
                    <a:pt x="47" y="67"/>
                    <a:pt x="50" y="66"/>
                  </a:cubicBezTo>
                  <a:cubicBezTo>
                    <a:pt x="53" y="66"/>
                    <a:pt x="56" y="64"/>
                    <a:pt x="58" y="63"/>
                  </a:cubicBezTo>
                  <a:cubicBezTo>
                    <a:pt x="60" y="61"/>
                    <a:pt x="62" y="59"/>
                    <a:pt x="63" y="56"/>
                  </a:cubicBezTo>
                  <a:cubicBezTo>
                    <a:pt x="64" y="53"/>
                    <a:pt x="65" y="50"/>
                    <a:pt x="65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57" name="Freeform 19"/>
            <p:cNvSpPr>
              <a:spLocks/>
            </p:cNvSpPr>
            <p:nvPr userDrawn="1"/>
          </p:nvSpPr>
          <p:spPr bwMode="auto">
            <a:xfrm>
              <a:off x="6672261" y="2735263"/>
              <a:ext cx="93662" cy="206375"/>
            </a:xfrm>
            <a:custGeom>
              <a:avLst/>
              <a:gdLst>
                <a:gd name="T0" fmla="*/ 58 w 63"/>
                <a:gd name="T1" fmla="*/ 117 h 137"/>
                <a:gd name="T2" fmla="*/ 63 w 63"/>
                <a:gd name="T3" fmla="*/ 122 h 137"/>
                <a:gd name="T4" fmla="*/ 63 w 63"/>
                <a:gd name="T5" fmla="*/ 133 h 137"/>
                <a:gd name="T6" fmla="*/ 58 w 63"/>
                <a:gd name="T7" fmla="*/ 137 h 137"/>
                <a:gd name="T8" fmla="*/ 5 w 63"/>
                <a:gd name="T9" fmla="*/ 137 h 137"/>
                <a:gd name="T10" fmla="*/ 0 w 63"/>
                <a:gd name="T11" fmla="*/ 133 h 137"/>
                <a:gd name="T12" fmla="*/ 0 w 63"/>
                <a:gd name="T13" fmla="*/ 122 h 137"/>
                <a:gd name="T14" fmla="*/ 5 w 63"/>
                <a:gd name="T15" fmla="*/ 117 h 137"/>
                <a:gd name="T16" fmla="*/ 16 w 63"/>
                <a:gd name="T17" fmla="*/ 117 h 137"/>
                <a:gd name="T18" fmla="*/ 16 w 63"/>
                <a:gd name="T19" fmla="*/ 20 h 137"/>
                <a:gd name="T20" fmla="*/ 5 w 63"/>
                <a:gd name="T21" fmla="*/ 20 h 137"/>
                <a:gd name="T22" fmla="*/ 0 w 63"/>
                <a:gd name="T23" fmla="*/ 15 h 137"/>
                <a:gd name="T24" fmla="*/ 0 w 63"/>
                <a:gd name="T25" fmla="*/ 4 h 137"/>
                <a:gd name="T26" fmla="*/ 5 w 63"/>
                <a:gd name="T27" fmla="*/ 0 h 137"/>
                <a:gd name="T28" fmla="*/ 58 w 63"/>
                <a:gd name="T29" fmla="*/ 0 h 137"/>
                <a:gd name="T30" fmla="*/ 63 w 63"/>
                <a:gd name="T31" fmla="*/ 4 h 137"/>
                <a:gd name="T32" fmla="*/ 63 w 63"/>
                <a:gd name="T33" fmla="*/ 15 h 137"/>
                <a:gd name="T34" fmla="*/ 58 w 63"/>
                <a:gd name="T35" fmla="*/ 20 h 137"/>
                <a:gd name="T36" fmla="*/ 47 w 63"/>
                <a:gd name="T37" fmla="*/ 20 h 137"/>
                <a:gd name="T38" fmla="*/ 47 w 63"/>
                <a:gd name="T39" fmla="*/ 117 h 137"/>
                <a:gd name="T40" fmla="*/ 58 w 63"/>
                <a:gd name="T41" fmla="*/ 11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" h="137">
                  <a:moveTo>
                    <a:pt x="58" y="117"/>
                  </a:moveTo>
                  <a:cubicBezTo>
                    <a:pt x="61" y="117"/>
                    <a:pt x="63" y="119"/>
                    <a:pt x="63" y="122"/>
                  </a:cubicBezTo>
                  <a:cubicBezTo>
                    <a:pt x="63" y="133"/>
                    <a:pt x="63" y="133"/>
                    <a:pt x="63" y="133"/>
                  </a:cubicBezTo>
                  <a:cubicBezTo>
                    <a:pt x="63" y="136"/>
                    <a:pt x="61" y="137"/>
                    <a:pt x="58" y="137"/>
                  </a:cubicBezTo>
                  <a:cubicBezTo>
                    <a:pt x="5" y="137"/>
                    <a:pt x="5" y="137"/>
                    <a:pt x="5" y="137"/>
                  </a:cubicBezTo>
                  <a:cubicBezTo>
                    <a:pt x="2" y="137"/>
                    <a:pt x="0" y="136"/>
                    <a:pt x="0" y="133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19"/>
                    <a:pt x="2" y="117"/>
                    <a:pt x="5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0"/>
                    <a:pt x="0" y="18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3" y="1"/>
                    <a:pt x="63" y="4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8"/>
                    <a:pt x="61" y="20"/>
                    <a:pt x="58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117"/>
                    <a:pt x="47" y="117"/>
                    <a:pt x="47" y="117"/>
                  </a:cubicBezTo>
                  <a:lnTo>
                    <a:pt x="58" y="1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58" name="Freeform 20"/>
            <p:cNvSpPr>
              <a:spLocks/>
            </p:cNvSpPr>
            <p:nvPr userDrawn="1"/>
          </p:nvSpPr>
          <p:spPr bwMode="auto">
            <a:xfrm>
              <a:off x="6821486" y="2730501"/>
              <a:ext cx="161925" cy="214313"/>
            </a:xfrm>
            <a:custGeom>
              <a:avLst/>
              <a:gdLst>
                <a:gd name="T0" fmla="*/ 103 w 107"/>
                <a:gd name="T1" fmla="*/ 8 h 143"/>
                <a:gd name="T2" fmla="*/ 106 w 107"/>
                <a:gd name="T3" fmla="*/ 14 h 143"/>
                <a:gd name="T4" fmla="*/ 101 w 107"/>
                <a:gd name="T5" fmla="*/ 31 h 143"/>
                <a:gd name="T6" fmla="*/ 95 w 107"/>
                <a:gd name="T7" fmla="*/ 33 h 143"/>
                <a:gd name="T8" fmla="*/ 81 w 107"/>
                <a:gd name="T9" fmla="*/ 28 h 143"/>
                <a:gd name="T10" fmla="*/ 67 w 107"/>
                <a:gd name="T11" fmla="*/ 27 h 143"/>
                <a:gd name="T12" fmla="*/ 42 w 107"/>
                <a:gd name="T13" fmla="*/ 38 h 143"/>
                <a:gd name="T14" fmla="*/ 33 w 107"/>
                <a:gd name="T15" fmla="*/ 71 h 143"/>
                <a:gd name="T16" fmla="*/ 36 w 107"/>
                <a:gd name="T17" fmla="*/ 91 h 143"/>
                <a:gd name="T18" fmla="*/ 43 w 107"/>
                <a:gd name="T19" fmla="*/ 105 h 143"/>
                <a:gd name="T20" fmla="*/ 54 w 107"/>
                <a:gd name="T21" fmla="*/ 113 h 143"/>
                <a:gd name="T22" fmla="*/ 68 w 107"/>
                <a:gd name="T23" fmla="*/ 116 h 143"/>
                <a:gd name="T24" fmla="*/ 81 w 107"/>
                <a:gd name="T25" fmla="*/ 115 h 143"/>
                <a:gd name="T26" fmla="*/ 94 w 107"/>
                <a:gd name="T27" fmla="*/ 110 h 143"/>
                <a:gd name="T28" fmla="*/ 98 w 107"/>
                <a:gd name="T29" fmla="*/ 110 h 143"/>
                <a:gd name="T30" fmla="*/ 101 w 107"/>
                <a:gd name="T31" fmla="*/ 113 h 143"/>
                <a:gd name="T32" fmla="*/ 106 w 107"/>
                <a:gd name="T33" fmla="*/ 127 h 143"/>
                <a:gd name="T34" fmla="*/ 106 w 107"/>
                <a:gd name="T35" fmla="*/ 131 h 143"/>
                <a:gd name="T36" fmla="*/ 103 w 107"/>
                <a:gd name="T37" fmla="*/ 135 h 143"/>
                <a:gd name="T38" fmla="*/ 85 w 107"/>
                <a:gd name="T39" fmla="*/ 141 h 143"/>
                <a:gd name="T40" fmla="*/ 63 w 107"/>
                <a:gd name="T41" fmla="*/ 143 h 143"/>
                <a:gd name="T42" fmla="*/ 35 w 107"/>
                <a:gd name="T43" fmla="*/ 138 h 143"/>
                <a:gd name="T44" fmla="*/ 16 w 107"/>
                <a:gd name="T45" fmla="*/ 123 h 143"/>
                <a:gd name="T46" fmla="*/ 4 w 107"/>
                <a:gd name="T47" fmla="*/ 101 h 143"/>
                <a:gd name="T48" fmla="*/ 0 w 107"/>
                <a:gd name="T49" fmla="*/ 72 h 143"/>
                <a:gd name="T50" fmla="*/ 4 w 107"/>
                <a:gd name="T51" fmla="*/ 43 h 143"/>
                <a:gd name="T52" fmla="*/ 18 w 107"/>
                <a:gd name="T53" fmla="*/ 20 h 143"/>
                <a:gd name="T54" fmla="*/ 38 w 107"/>
                <a:gd name="T55" fmla="*/ 5 h 143"/>
                <a:gd name="T56" fmla="*/ 65 w 107"/>
                <a:gd name="T57" fmla="*/ 0 h 143"/>
                <a:gd name="T58" fmla="*/ 85 w 107"/>
                <a:gd name="T59" fmla="*/ 2 h 143"/>
                <a:gd name="T60" fmla="*/ 103 w 107"/>
                <a:gd name="T61" fmla="*/ 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7" h="143">
                  <a:moveTo>
                    <a:pt x="103" y="8"/>
                  </a:moveTo>
                  <a:cubicBezTo>
                    <a:pt x="106" y="9"/>
                    <a:pt x="107" y="11"/>
                    <a:pt x="106" y="14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0" y="34"/>
                    <a:pt x="98" y="34"/>
                    <a:pt x="95" y="33"/>
                  </a:cubicBezTo>
                  <a:cubicBezTo>
                    <a:pt x="90" y="31"/>
                    <a:pt x="85" y="29"/>
                    <a:pt x="81" y="28"/>
                  </a:cubicBezTo>
                  <a:cubicBezTo>
                    <a:pt x="76" y="27"/>
                    <a:pt x="72" y="27"/>
                    <a:pt x="67" y="27"/>
                  </a:cubicBezTo>
                  <a:cubicBezTo>
                    <a:pt x="57" y="27"/>
                    <a:pt x="49" y="30"/>
                    <a:pt x="42" y="38"/>
                  </a:cubicBezTo>
                  <a:cubicBezTo>
                    <a:pt x="36" y="46"/>
                    <a:pt x="33" y="57"/>
                    <a:pt x="33" y="71"/>
                  </a:cubicBezTo>
                  <a:cubicBezTo>
                    <a:pt x="33" y="79"/>
                    <a:pt x="34" y="86"/>
                    <a:pt x="36" y="91"/>
                  </a:cubicBezTo>
                  <a:cubicBezTo>
                    <a:pt x="38" y="97"/>
                    <a:pt x="40" y="102"/>
                    <a:pt x="43" y="105"/>
                  </a:cubicBezTo>
                  <a:cubicBezTo>
                    <a:pt x="46" y="109"/>
                    <a:pt x="50" y="112"/>
                    <a:pt x="54" y="113"/>
                  </a:cubicBezTo>
                  <a:cubicBezTo>
                    <a:pt x="58" y="115"/>
                    <a:pt x="63" y="116"/>
                    <a:pt x="68" y="116"/>
                  </a:cubicBezTo>
                  <a:cubicBezTo>
                    <a:pt x="72" y="116"/>
                    <a:pt x="77" y="115"/>
                    <a:pt x="81" y="115"/>
                  </a:cubicBezTo>
                  <a:cubicBezTo>
                    <a:pt x="85" y="114"/>
                    <a:pt x="90" y="112"/>
                    <a:pt x="94" y="110"/>
                  </a:cubicBezTo>
                  <a:cubicBezTo>
                    <a:pt x="96" y="110"/>
                    <a:pt x="97" y="110"/>
                    <a:pt x="98" y="110"/>
                  </a:cubicBezTo>
                  <a:cubicBezTo>
                    <a:pt x="99" y="110"/>
                    <a:pt x="100" y="111"/>
                    <a:pt x="101" y="113"/>
                  </a:cubicBezTo>
                  <a:cubicBezTo>
                    <a:pt x="106" y="127"/>
                    <a:pt x="106" y="127"/>
                    <a:pt x="106" y="127"/>
                  </a:cubicBezTo>
                  <a:cubicBezTo>
                    <a:pt x="106" y="129"/>
                    <a:pt x="107" y="130"/>
                    <a:pt x="106" y="131"/>
                  </a:cubicBezTo>
                  <a:cubicBezTo>
                    <a:pt x="106" y="133"/>
                    <a:pt x="105" y="134"/>
                    <a:pt x="103" y="135"/>
                  </a:cubicBezTo>
                  <a:cubicBezTo>
                    <a:pt x="98" y="137"/>
                    <a:pt x="92" y="139"/>
                    <a:pt x="85" y="141"/>
                  </a:cubicBezTo>
                  <a:cubicBezTo>
                    <a:pt x="78" y="142"/>
                    <a:pt x="71" y="143"/>
                    <a:pt x="63" y="143"/>
                  </a:cubicBezTo>
                  <a:cubicBezTo>
                    <a:pt x="52" y="143"/>
                    <a:pt x="43" y="141"/>
                    <a:pt x="35" y="138"/>
                  </a:cubicBezTo>
                  <a:cubicBezTo>
                    <a:pt x="27" y="134"/>
                    <a:pt x="21" y="129"/>
                    <a:pt x="16" y="123"/>
                  </a:cubicBezTo>
                  <a:cubicBezTo>
                    <a:pt x="10" y="117"/>
                    <a:pt x="6" y="110"/>
                    <a:pt x="4" y="101"/>
                  </a:cubicBezTo>
                  <a:cubicBezTo>
                    <a:pt x="1" y="93"/>
                    <a:pt x="0" y="83"/>
                    <a:pt x="0" y="72"/>
                  </a:cubicBezTo>
                  <a:cubicBezTo>
                    <a:pt x="0" y="62"/>
                    <a:pt x="1" y="52"/>
                    <a:pt x="4" y="43"/>
                  </a:cubicBezTo>
                  <a:cubicBezTo>
                    <a:pt x="7" y="34"/>
                    <a:pt x="12" y="26"/>
                    <a:pt x="18" y="20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2"/>
                    <a:pt x="55" y="0"/>
                    <a:pt x="65" y="0"/>
                  </a:cubicBezTo>
                  <a:cubicBezTo>
                    <a:pt x="72" y="0"/>
                    <a:pt x="79" y="0"/>
                    <a:pt x="85" y="2"/>
                  </a:cubicBezTo>
                  <a:cubicBezTo>
                    <a:pt x="91" y="3"/>
                    <a:pt x="97" y="5"/>
                    <a:pt x="103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59" name="Freeform 21"/>
            <p:cNvSpPr>
              <a:spLocks/>
            </p:cNvSpPr>
            <p:nvPr userDrawn="1"/>
          </p:nvSpPr>
          <p:spPr bwMode="auto">
            <a:xfrm>
              <a:off x="7018336" y="2735263"/>
              <a:ext cx="176212" cy="206375"/>
            </a:xfrm>
            <a:custGeom>
              <a:avLst/>
              <a:gdLst>
                <a:gd name="T0" fmla="*/ 42 w 117"/>
                <a:gd name="T1" fmla="*/ 25 h 137"/>
                <a:gd name="T2" fmla="*/ 6 w 117"/>
                <a:gd name="T3" fmla="*/ 25 h 137"/>
                <a:gd name="T4" fmla="*/ 0 w 117"/>
                <a:gd name="T5" fmla="*/ 19 h 137"/>
                <a:gd name="T6" fmla="*/ 0 w 117"/>
                <a:gd name="T7" fmla="*/ 5 h 137"/>
                <a:gd name="T8" fmla="*/ 5 w 117"/>
                <a:gd name="T9" fmla="*/ 0 h 137"/>
                <a:gd name="T10" fmla="*/ 112 w 117"/>
                <a:gd name="T11" fmla="*/ 0 h 137"/>
                <a:gd name="T12" fmla="*/ 117 w 117"/>
                <a:gd name="T13" fmla="*/ 5 h 137"/>
                <a:gd name="T14" fmla="*/ 115 w 117"/>
                <a:gd name="T15" fmla="*/ 20 h 137"/>
                <a:gd name="T16" fmla="*/ 113 w 117"/>
                <a:gd name="T17" fmla="*/ 24 h 137"/>
                <a:gd name="T18" fmla="*/ 108 w 117"/>
                <a:gd name="T19" fmla="*/ 25 h 137"/>
                <a:gd name="T20" fmla="*/ 73 w 117"/>
                <a:gd name="T21" fmla="*/ 25 h 137"/>
                <a:gd name="T22" fmla="*/ 73 w 117"/>
                <a:gd name="T23" fmla="*/ 132 h 137"/>
                <a:gd name="T24" fmla="*/ 72 w 117"/>
                <a:gd name="T25" fmla="*/ 136 h 137"/>
                <a:gd name="T26" fmla="*/ 68 w 117"/>
                <a:gd name="T27" fmla="*/ 137 h 137"/>
                <a:gd name="T28" fmla="*/ 47 w 117"/>
                <a:gd name="T29" fmla="*/ 137 h 137"/>
                <a:gd name="T30" fmla="*/ 42 w 117"/>
                <a:gd name="T31" fmla="*/ 131 h 137"/>
                <a:gd name="T32" fmla="*/ 42 w 117"/>
                <a:gd name="T33" fmla="*/ 2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37">
                  <a:moveTo>
                    <a:pt x="42" y="25"/>
                  </a:moveTo>
                  <a:cubicBezTo>
                    <a:pt x="6" y="25"/>
                    <a:pt x="6" y="25"/>
                    <a:pt x="6" y="25"/>
                  </a:cubicBezTo>
                  <a:cubicBezTo>
                    <a:pt x="2" y="25"/>
                    <a:pt x="0" y="23"/>
                    <a:pt x="0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"/>
                    <a:pt x="2" y="0"/>
                    <a:pt x="5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5" y="0"/>
                    <a:pt x="117" y="1"/>
                    <a:pt x="117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15" y="22"/>
                    <a:pt x="114" y="24"/>
                    <a:pt x="113" y="24"/>
                  </a:cubicBezTo>
                  <a:cubicBezTo>
                    <a:pt x="112" y="25"/>
                    <a:pt x="110" y="25"/>
                    <a:pt x="108" y="25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73" y="133"/>
                    <a:pt x="73" y="134"/>
                    <a:pt x="72" y="136"/>
                  </a:cubicBezTo>
                  <a:cubicBezTo>
                    <a:pt x="71" y="137"/>
                    <a:pt x="70" y="137"/>
                    <a:pt x="68" y="13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4" y="137"/>
                    <a:pt x="42" y="135"/>
                    <a:pt x="42" y="131"/>
                  </a:cubicBezTo>
                  <a:lnTo>
                    <a:pt x="42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0" name="Freeform 22"/>
            <p:cNvSpPr>
              <a:spLocks/>
            </p:cNvSpPr>
            <p:nvPr userDrawn="1"/>
          </p:nvSpPr>
          <p:spPr bwMode="auto">
            <a:xfrm>
              <a:off x="7238999" y="2735263"/>
              <a:ext cx="180975" cy="209550"/>
            </a:xfrm>
            <a:custGeom>
              <a:avLst/>
              <a:gdLst>
                <a:gd name="T0" fmla="*/ 120 w 120"/>
                <a:gd name="T1" fmla="*/ 75 h 140"/>
                <a:gd name="T2" fmla="*/ 116 w 120"/>
                <a:gd name="T3" fmla="*/ 104 h 140"/>
                <a:gd name="T4" fmla="*/ 104 w 120"/>
                <a:gd name="T5" fmla="*/ 124 h 140"/>
                <a:gd name="T6" fmla="*/ 84 w 120"/>
                <a:gd name="T7" fmla="*/ 136 h 140"/>
                <a:gd name="T8" fmla="*/ 59 w 120"/>
                <a:gd name="T9" fmla="*/ 140 h 140"/>
                <a:gd name="T10" fmla="*/ 14 w 120"/>
                <a:gd name="T11" fmla="*/ 123 h 140"/>
                <a:gd name="T12" fmla="*/ 0 w 120"/>
                <a:gd name="T13" fmla="*/ 76 h 140"/>
                <a:gd name="T14" fmla="*/ 0 w 120"/>
                <a:gd name="T15" fmla="*/ 5 h 140"/>
                <a:gd name="T16" fmla="*/ 1 w 120"/>
                <a:gd name="T17" fmla="*/ 1 h 140"/>
                <a:gd name="T18" fmla="*/ 6 w 120"/>
                <a:gd name="T19" fmla="*/ 0 h 140"/>
                <a:gd name="T20" fmla="*/ 26 w 120"/>
                <a:gd name="T21" fmla="*/ 0 h 140"/>
                <a:gd name="T22" fmla="*/ 30 w 120"/>
                <a:gd name="T23" fmla="*/ 1 h 140"/>
                <a:gd name="T24" fmla="*/ 31 w 120"/>
                <a:gd name="T25" fmla="*/ 5 h 140"/>
                <a:gd name="T26" fmla="*/ 31 w 120"/>
                <a:gd name="T27" fmla="*/ 73 h 140"/>
                <a:gd name="T28" fmla="*/ 33 w 120"/>
                <a:gd name="T29" fmla="*/ 93 h 140"/>
                <a:gd name="T30" fmla="*/ 39 w 120"/>
                <a:gd name="T31" fmla="*/ 105 h 140"/>
                <a:gd name="T32" fmla="*/ 48 w 120"/>
                <a:gd name="T33" fmla="*/ 111 h 140"/>
                <a:gd name="T34" fmla="*/ 60 w 120"/>
                <a:gd name="T35" fmla="*/ 113 h 140"/>
                <a:gd name="T36" fmla="*/ 72 w 120"/>
                <a:gd name="T37" fmla="*/ 111 h 140"/>
                <a:gd name="T38" fmla="*/ 81 w 120"/>
                <a:gd name="T39" fmla="*/ 105 h 140"/>
                <a:gd name="T40" fmla="*/ 86 w 120"/>
                <a:gd name="T41" fmla="*/ 92 h 140"/>
                <a:gd name="T42" fmla="*/ 88 w 120"/>
                <a:gd name="T43" fmla="*/ 73 h 140"/>
                <a:gd name="T44" fmla="*/ 88 w 120"/>
                <a:gd name="T45" fmla="*/ 5 h 140"/>
                <a:gd name="T46" fmla="*/ 90 w 120"/>
                <a:gd name="T47" fmla="*/ 1 h 140"/>
                <a:gd name="T48" fmla="*/ 94 w 120"/>
                <a:gd name="T49" fmla="*/ 0 h 140"/>
                <a:gd name="T50" fmla="*/ 114 w 120"/>
                <a:gd name="T51" fmla="*/ 0 h 140"/>
                <a:gd name="T52" fmla="*/ 118 w 120"/>
                <a:gd name="T53" fmla="*/ 1 h 140"/>
                <a:gd name="T54" fmla="*/ 120 w 120"/>
                <a:gd name="T55" fmla="*/ 5 h 140"/>
                <a:gd name="T56" fmla="*/ 120 w 120"/>
                <a:gd name="T57" fmla="*/ 7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0" h="140">
                  <a:moveTo>
                    <a:pt x="120" y="75"/>
                  </a:moveTo>
                  <a:cubicBezTo>
                    <a:pt x="120" y="86"/>
                    <a:pt x="118" y="96"/>
                    <a:pt x="116" y="104"/>
                  </a:cubicBezTo>
                  <a:cubicBezTo>
                    <a:pt x="113" y="112"/>
                    <a:pt x="109" y="119"/>
                    <a:pt x="104" y="124"/>
                  </a:cubicBezTo>
                  <a:cubicBezTo>
                    <a:pt x="98" y="130"/>
                    <a:pt x="92" y="133"/>
                    <a:pt x="84" y="136"/>
                  </a:cubicBezTo>
                  <a:cubicBezTo>
                    <a:pt x="77" y="138"/>
                    <a:pt x="68" y="140"/>
                    <a:pt x="59" y="140"/>
                  </a:cubicBezTo>
                  <a:cubicBezTo>
                    <a:pt x="38" y="140"/>
                    <a:pt x="24" y="134"/>
                    <a:pt x="14" y="123"/>
                  </a:cubicBezTo>
                  <a:cubicBezTo>
                    <a:pt x="5" y="113"/>
                    <a:pt x="0" y="97"/>
                    <a:pt x="0" y="7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4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9" y="0"/>
                    <a:pt x="30" y="1"/>
                  </a:cubicBezTo>
                  <a:cubicBezTo>
                    <a:pt x="31" y="1"/>
                    <a:pt x="31" y="3"/>
                    <a:pt x="31" y="5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81"/>
                    <a:pt x="32" y="87"/>
                    <a:pt x="33" y="93"/>
                  </a:cubicBezTo>
                  <a:cubicBezTo>
                    <a:pt x="35" y="98"/>
                    <a:pt x="36" y="102"/>
                    <a:pt x="39" y="105"/>
                  </a:cubicBezTo>
                  <a:cubicBezTo>
                    <a:pt x="41" y="108"/>
                    <a:pt x="44" y="110"/>
                    <a:pt x="48" y="111"/>
                  </a:cubicBezTo>
                  <a:cubicBezTo>
                    <a:pt x="52" y="113"/>
                    <a:pt x="56" y="113"/>
                    <a:pt x="60" y="113"/>
                  </a:cubicBezTo>
                  <a:cubicBezTo>
                    <a:pt x="65" y="113"/>
                    <a:pt x="69" y="113"/>
                    <a:pt x="72" y="111"/>
                  </a:cubicBezTo>
                  <a:cubicBezTo>
                    <a:pt x="76" y="110"/>
                    <a:pt x="79" y="108"/>
                    <a:pt x="81" y="105"/>
                  </a:cubicBezTo>
                  <a:cubicBezTo>
                    <a:pt x="83" y="102"/>
                    <a:pt x="85" y="98"/>
                    <a:pt x="86" y="92"/>
                  </a:cubicBezTo>
                  <a:cubicBezTo>
                    <a:pt x="88" y="87"/>
                    <a:pt x="88" y="81"/>
                    <a:pt x="88" y="73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3"/>
                    <a:pt x="89" y="2"/>
                    <a:pt x="90" y="1"/>
                  </a:cubicBezTo>
                  <a:cubicBezTo>
                    <a:pt x="91" y="0"/>
                    <a:pt x="93" y="0"/>
                    <a:pt x="9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7" y="0"/>
                    <a:pt x="118" y="1"/>
                  </a:cubicBezTo>
                  <a:cubicBezTo>
                    <a:pt x="119" y="1"/>
                    <a:pt x="120" y="3"/>
                    <a:pt x="120" y="5"/>
                  </a:cubicBezTo>
                  <a:lnTo>
                    <a:pt x="120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1" name="Freeform 23"/>
            <p:cNvSpPr>
              <a:spLocks noEditPoints="1"/>
            </p:cNvSpPr>
            <p:nvPr userDrawn="1"/>
          </p:nvSpPr>
          <p:spPr bwMode="auto">
            <a:xfrm>
              <a:off x="7485061" y="2735263"/>
              <a:ext cx="158750" cy="206375"/>
            </a:xfrm>
            <a:custGeom>
              <a:avLst/>
              <a:gdLst>
                <a:gd name="T0" fmla="*/ 105 w 106"/>
                <a:gd name="T1" fmla="*/ 130 h 137"/>
                <a:gd name="T2" fmla="*/ 106 w 106"/>
                <a:gd name="T3" fmla="*/ 132 h 137"/>
                <a:gd name="T4" fmla="*/ 106 w 106"/>
                <a:gd name="T5" fmla="*/ 134 h 137"/>
                <a:gd name="T6" fmla="*/ 106 w 106"/>
                <a:gd name="T7" fmla="*/ 136 h 137"/>
                <a:gd name="T8" fmla="*/ 102 w 106"/>
                <a:gd name="T9" fmla="*/ 137 h 137"/>
                <a:gd name="T10" fmla="*/ 81 w 106"/>
                <a:gd name="T11" fmla="*/ 137 h 137"/>
                <a:gd name="T12" fmla="*/ 75 w 106"/>
                <a:gd name="T13" fmla="*/ 136 h 137"/>
                <a:gd name="T14" fmla="*/ 72 w 106"/>
                <a:gd name="T15" fmla="*/ 133 h 137"/>
                <a:gd name="T16" fmla="*/ 44 w 106"/>
                <a:gd name="T17" fmla="*/ 91 h 137"/>
                <a:gd name="T18" fmla="*/ 32 w 106"/>
                <a:gd name="T19" fmla="*/ 91 h 137"/>
                <a:gd name="T20" fmla="*/ 32 w 106"/>
                <a:gd name="T21" fmla="*/ 132 h 137"/>
                <a:gd name="T22" fmla="*/ 31 w 106"/>
                <a:gd name="T23" fmla="*/ 136 h 137"/>
                <a:gd name="T24" fmla="*/ 27 w 106"/>
                <a:gd name="T25" fmla="*/ 137 h 137"/>
                <a:gd name="T26" fmla="*/ 6 w 106"/>
                <a:gd name="T27" fmla="*/ 137 h 137"/>
                <a:gd name="T28" fmla="*/ 0 w 106"/>
                <a:gd name="T29" fmla="*/ 131 h 137"/>
                <a:gd name="T30" fmla="*/ 0 w 106"/>
                <a:gd name="T31" fmla="*/ 7 h 137"/>
                <a:gd name="T32" fmla="*/ 2 w 106"/>
                <a:gd name="T33" fmla="*/ 1 h 137"/>
                <a:gd name="T34" fmla="*/ 7 w 106"/>
                <a:gd name="T35" fmla="*/ 0 h 137"/>
                <a:gd name="T36" fmla="*/ 37 w 106"/>
                <a:gd name="T37" fmla="*/ 0 h 137"/>
                <a:gd name="T38" fmla="*/ 50 w 106"/>
                <a:gd name="T39" fmla="*/ 0 h 137"/>
                <a:gd name="T40" fmla="*/ 63 w 106"/>
                <a:gd name="T41" fmla="*/ 2 h 137"/>
                <a:gd name="T42" fmla="*/ 76 w 106"/>
                <a:gd name="T43" fmla="*/ 7 h 137"/>
                <a:gd name="T44" fmla="*/ 86 w 106"/>
                <a:gd name="T45" fmla="*/ 15 h 137"/>
                <a:gd name="T46" fmla="*/ 94 w 106"/>
                <a:gd name="T47" fmla="*/ 28 h 137"/>
                <a:gd name="T48" fmla="*/ 97 w 106"/>
                <a:gd name="T49" fmla="*/ 44 h 137"/>
                <a:gd name="T50" fmla="*/ 91 w 106"/>
                <a:gd name="T51" fmla="*/ 68 h 137"/>
                <a:gd name="T52" fmla="*/ 73 w 106"/>
                <a:gd name="T53" fmla="*/ 84 h 137"/>
                <a:gd name="T54" fmla="*/ 73 w 106"/>
                <a:gd name="T55" fmla="*/ 85 h 137"/>
                <a:gd name="T56" fmla="*/ 105 w 106"/>
                <a:gd name="T57" fmla="*/ 130 h 137"/>
                <a:gd name="T58" fmla="*/ 65 w 106"/>
                <a:gd name="T59" fmla="*/ 45 h 137"/>
                <a:gd name="T60" fmla="*/ 63 w 106"/>
                <a:gd name="T61" fmla="*/ 35 h 137"/>
                <a:gd name="T62" fmla="*/ 58 w 106"/>
                <a:gd name="T63" fmla="*/ 28 h 137"/>
                <a:gd name="T64" fmla="*/ 50 w 106"/>
                <a:gd name="T65" fmla="*/ 25 h 137"/>
                <a:gd name="T66" fmla="*/ 40 w 106"/>
                <a:gd name="T67" fmla="*/ 24 h 137"/>
                <a:gd name="T68" fmla="*/ 32 w 106"/>
                <a:gd name="T69" fmla="*/ 24 h 137"/>
                <a:gd name="T70" fmla="*/ 32 w 106"/>
                <a:gd name="T71" fmla="*/ 67 h 137"/>
                <a:gd name="T72" fmla="*/ 42 w 106"/>
                <a:gd name="T73" fmla="*/ 67 h 137"/>
                <a:gd name="T74" fmla="*/ 59 w 106"/>
                <a:gd name="T75" fmla="*/ 61 h 137"/>
                <a:gd name="T76" fmla="*/ 65 w 106"/>
                <a:gd name="T77" fmla="*/ 4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6" h="137">
                  <a:moveTo>
                    <a:pt x="105" y="130"/>
                  </a:moveTo>
                  <a:cubicBezTo>
                    <a:pt x="105" y="131"/>
                    <a:pt x="106" y="131"/>
                    <a:pt x="106" y="132"/>
                  </a:cubicBezTo>
                  <a:cubicBezTo>
                    <a:pt x="106" y="133"/>
                    <a:pt x="106" y="133"/>
                    <a:pt x="106" y="134"/>
                  </a:cubicBezTo>
                  <a:cubicBezTo>
                    <a:pt x="106" y="135"/>
                    <a:pt x="106" y="135"/>
                    <a:pt x="106" y="136"/>
                  </a:cubicBezTo>
                  <a:cubicBezTo>
                    <a:pt x="105" y="137"/>
                    <a:pt x="104" y="137"/>
                    <a:pt x="102" y="137"/>
                  </a:cubicBezTo>
                  <a:cubicBezTo>
                    <a:pt x="81" y="137"/>
                    <a:pt x="81" y="137"/>
                    <a:pt x="81" y="137"/>
                  </a:cubicBezTo>
                  <a:cubicBezTo>
                    <a:pt x="79" y="137"/>
                    <a:pt x="77" y="137"/>
                    <a:pt x="75" y="136"/>
                  </a:cubicBezTo>
                  <a:cubicBezTo>
                    <a:pt x="74" y="136"/>
                    <a:pt x="73" y="134"/>
                    <a:pt x="72" y="133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3"/>
                    <a:pt x="31" y="134"/>
                    <a:pt x="31" y="136"/>
                  </a:cubicBezTo>
                  <a:cubicBezTo>
                    <a:pt x="30" y="137"/>
                    <a:pt x="28" y="137"/>
                    <a:pt x="27" y="137"/>
                  </a:cubicBezTo>
                  <a:cubicBezTo>
                    <a:pt x="6" y="137"/>
                    <a:pt x="6" y="137"/>
                    <a:pt x="6" y="137"/>
                  </a:cubicBezTo>
                  <a:cubicBezTo>
                    <a:pt x="2" y="137"/>
                    <a:pt x="0" y="135"/>
                    <a:pt x="0" y="13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3" y="0"/>
                    <a:pt x="4" y="0"/>
                    <a:pt x="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0"/>
                    <a:pt x="46" y="0"/>
                    <a:pt x="50" y="0"/>
                  </a:cubicBezTo>
                  <a:cubicBezTo>
                    <a:pt x="55" y="0"/>
                    <a:pt x="59" y="1"/>
                    <a:pt x="63" y="2"/>
                  </a:cubicBezTo>
                  <a:cubicBezTo>
                    <a:pt x="68" y="3"/>
                    <a:pt x="72" y="5"/>
                    <a:pt x="76" y="7"/>
                  </a:cubicBezTo>
                  <a:cubicBezTo>
                    <a:pt x="80" y="9"/>
                    <a:pt x="83" y="11"/>
                    <a:pt x="86" y="15"/>
                  </a:cubicBezTo>
                  <a:cubicBezTo>
                    <a:pt x="90" y="19"/>
                    <a:pt x="92" y="23"/>
                    <a:pt x="94" y="28"/>
                  </a:cubicBezTo>
                  <a:cubicBezTo>
                    <a:pt x="96" y="33"/>
                    <a:pt x="97" y="39"/>
                    <a:pt x="97" y="44"/>
                  </a:cubicBezTo>
                  <a:cubicBezTo>
                    <a:pt x="97" y="53"/>
                    <a:pt x="95" y="61"/>
                    <a:pt x="91" y="68"/>
                  </a:cubicBezTo>
                  <a:cubicBezTo>
                    <a:pt x="87" y="75"/>
                    <a:pt x="81" y="80"/>
                    <a:pt x="73" y="84"/>
                  </a:cubicBezTo>
                  <a:cubicBezTo>
                    <a:pt x="73" y="85"/>
                    <a:pt x="73" y="85"/>
                    <a:pt x="73" y="85"/>
                  </a:cubicBezTo>
                  <a:lnTo>
                    <a:pt x="105" y="130"/>
                  </a:lnTo>
                  <a:close/>
                  <a:moveTo>
                    <a:pt x="65" y="45"/>
                  </a:moveTo>
                  <a:cubicBezTo>
                    <a:pt x="65" y="41"/>
                    <a:pt x="64" y="37"/>
                    <a:pt x="63" y="35"/>
                  </a:cubicBezTo>
                  <a:cubicBezTo>
                    <a:pt x="62" y="32"/>
                    <a:pt x="60" y="30"/>
                    <a:pt x="58" y="28"/>
                  </a:cubicBezTo>
                  <a:cubicBezTo>
                    <a:pt x="56" y="27"/>
                    <a:pt x="53" y="25"/>
                    <a:pt x="50" y="25"/>
                  </a:cubicBezTo>
                  <a:cubicBezTo>
                    <a:pt x="47" y="24"/>
                    <a:pt x="43" y="24"/>
                    <a:pt x="4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9" y="67"/>
                    <a:pt x="55" y="65"/>
                    <a:pt x="59" y="61"/>
                  </a:cubicBezTo>
                  <a:cubicBezTo>
                    <a:pt x="63" y="58"/>
                    <a:pt x="65" y="52"/>
                    <a:pt x="65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2" name="Freeform 24"/>
            <p:cNvSpPr>
              <a:spLocks/>
            </p:cNvSpPr>
            <p:nvPr userDrawn="1"/>
          </p:nvSpPr>
          <p:spPr bwMode="auto">
            <a:xfrm>
              <a:off x="7697786" y="2735263"/>
              <a:ext cx="133350" cy="206375"/>
            </a:xfrm>
            <a:custGeom>
              <a:avLst/>
              <a:gdLst>
                <a:gd name="T0" fmla="*/ 32 w 89"/>
                <a:gd name="T1" fmla="*/ 104 h 137"/>
                <a:gd name="T2" fmla="*/ 34 w 89"/>
                <a:gd name="T3" fmla="*/ 110 h 137"/>
                <a:gd name="T4" fmla="*/ 40 w 89"/>
                <a:gd name="T5" fmla="*/ 112 h 137"/>
                <a:gd name="T6" fmla="*/ 84 w 89"/>
                <a:gd name="T7" fmla="*/ 112 h 137"/>
                <a:gd name="T8" fmla="*/ 89 w 89"/>
                <a:gd name="T9" fmla="*/ 117 h 137"/>
                <a:gd name="T10" fmla="*/ 89 w 89"/>
                <a:gd name="T11" fmla="*/ 132 h 137"/>
                <a:gd name="T12" fmla="*/ 84 w 89"/>
                <a:gd name="T13" fmla="*/ 137 h 137"/>
                <a:gd name="T14" fmla="*/ 23 w 89"/>
                <a:gd name="T15" fmla="*/ 137 h 137"/>
                <a:gd name="T16" fmla="*/ 6 w 89"/>
                <a:gd name="T17" fmla="*/ 133 h 137"/>
                <a:gd name="T18" fmla="*/ 0 w 89"/>
                <a:gd name="T19" fmla="*/ 115 h 137"/>
                <a:gd name="T20" fmla="*/ 0 w 89"/>
                <a:gd name="T21" fmla="*/ 5 h 137"/>
                <a:gd name="T22" fmla="*/ 6 w 89"/>
                <a:gd name="T23" fmla="*/ 0 h 137"/>
                <a:gd name="T24" fmla="*/ 84 w 89"/>
                <a:gd name="T25" fmla="*/ 0 h 137"/>
                <a:gd name="T26" fmla="*/ 88 w 89"/>
                <a:gd name="T27" fmla="*/ 1 h 137"/>
                <a:gd name="T28" fmla="*/ 89 w 89"/>
                <a:gd name="T29" fmla="*/ 4 h 137"/>
                <a:gd name="T30" fmla="*/ 88 w 89"/>
                <a:gd name="T31" fmla="*/ 20 h 137"/>
                <a:gd name="T32" fmla="*/ 85 w 89"/>
                <a:gd name="T33" fmla="*/ 24 h 137"/>
                <a:gd name="T34" fmla="*/ 80 w 89"/>
                <a:gd name="T35" fmla="*/ 25 h 137"/>
                <a:gd name="T36" fmla="*/ 32 w 89"/>
                <a:gd name="T37" fmla="*/ 25 h 137"/>
                <a:gd name="T38" fmla="*/ 32 w 89"/>
                <a:gd name="T39" fmla="*/ 55 h 137"/>
                <a:gd name="T40" fmla="*/ 77 w 89"/>
                <a:gd name="T41" fmla="*/ 55 h 137"/>
                <a:gd name="T42" fmla="*/ 81 w 89"/>
                <a:gd name="T43" fmla="*/ 56 h 137"/>
                <a:gd name="T44" fmla="*/ 83 w 89"/>
                <a:gd name="T45" fmla="*/ 60 h 137"/>
                <a:gd name="T46" fmla="*/ 83 w 89"/>
                <a:gd name="T47" fmla="*/ 75 h 137"/>
                <a:gd name="T48" fmla="*/ 77 w 89"/>
                <a:gd name="T49" fmla="*/ 80 h 137"/>
                <a:gd name="T50" fmla="*/ 32 w 89"/>
                <a:gd name="T51" fmla="*/ 80 h 137"/>
                <a:gd name="T52" fmla="*/ 32 w 89"/>
                <a:gd name="T53" fmla="*/ 10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9" h="137">
                  <a:moveTo>
                    <a:pt x="32" y="104"/>
                  </a:moveTo>
                  <a:cubicBezTo>
                    <a:pt x="32" y="107"/>
                    <a:pt x="33" y="109"/>
                    <a:pt x="34" y="110"/>
                  </a:cubicBezTo>
                  <a:cubicBezTo>
                    <a:pt x="35" y="111"/>
                    <a:pt x="37" y="112"/>
                    <a:pt x="40" y="112"/>
                  </a:cubicBezTo>
                  <a:cubicBezTo>
                    <a:pt x="84" y="112"/>
                    <a:pt x="84" y="112"/>
                    <a:pt x="84" y="112"/>
                  </a:cubicBezTo>
                  <a:cubicBezTo>
                    <a:pt x="87" y="112"/>
                    <a:pt x="89" y="113"/>
                    <a:pt x="89" y="117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5"/>
                    <a:pt x="87" y="137"/>
                    <a:pt x="84" y="137"/>
                  </a:cubicBezTo>
                  <a:cubicBezTo>
                    <a:pt x="23" y="137"/>
                    <a:pt x="23" y="137"/>
                    <a:pt x="23" y="137"/>
                  </a:cubicBezTo>
                  <a:cubicBezTo>
                    <a:pt x="16" y="137"/>
                    <a:pt x="10" y="136"/>
                    <a:pt x="6" y="133"/>
                  </a:cubicBezTo>
                  <a:cubicBezTo>
                    <a:pt x="2" y="130"/>
                    <a:pt x="0" y="124"/>
                    <a:pt x="0" y="11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0"/>
                    <a:pt x="88" y="0"/>
                    <a:pt x="88" y="1"/>
                  </a:cubicBezTo>
                  <a:cubicBezTo>
                    <a:pt x="89" y="2"/>
                    <a:pt x="89" y="3"/>
                    <a:pt x="89" y="4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7" y="22"/>
                    <a:pt x="86" y="24"/>
                    <a:pt x="85" y="24"/>
                  </a:cubicBezTo>
                  <a:cubicBezTo>
                    <a:pt x="84" y="25"/>
                    <a:pt x="82" y="25"/>
                    <a:pt x="80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9" y="55"/>
                    <a:pt x="81" y="55"/>
                    <a:pt x="81" y="56"/>
                  </a:cubicBezTo>
                  <a:cubicBezTo>
                    <a:pt x="82" y="57"/>
                    <a:pt x="83" y="59"/>
                    <a:pt x="83" y="60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8"/>
                    <a:pt x="81" y="80"/>
                    <a:pt x="77" y="80"/>
                  </a:cubicBezTo>
                  <a:cubicBezTo>
                    <a:pt x="32" y="80"/>
                    <a:pt x="32" y="80"/>
                    <a:pt x="32" y="80"/>
                  </a:cubicBezTo>
                  <a:lnTo>
                    <a:pt x="32" y="1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3" name="Freeform 25"/>
            <p:cNvSpPr>
              <a:spLocks noEditPoints="1"/>
            </p:cNvSpPr>
            <p:nvPr userDrawn="1"/>
          </p:nvSpPr>
          <p:spPr bwMode="auto">
            <a:xfrm>
              <a:off x="7980361" y="2730501"/>
              <a:ext cx="188912" cy="214313"/>
            </a:xfrm>
            <a:custGeom>
              <a:avLst/>
              <a:gdLst>
                <a:gd name="T0" fmla="*/ 126 w 126"/>
                <a:gd name="T1" fmla="*/ 71 h 143"/>
                <a:gd name="T2" fmla="*/ 121 w 126"/>
                <a:gd name="T3" fmla="*/ 101 h 143"/>
                <a:gd name="T4" fmla="*/ 108 w 126"/>
                <a:gd name="T5" fmla="*/ 123 h 143"/>
                <a:gd name="T6" fmla="*/ 88 w 126"/>
                <a:gd name="T7" fmla="*/ 138 h 143"/>
                <a:gd name="T8" fmla="*/ 63 w 126"/>
                <a:gd name="T9" fmla="*/ 143 h 143"/>
                <a:gd name="T10" fmla="*/ 36 w 126"/>
                <a:gd name="T11" fmla="*/ 138 h 143"/>
                <a:gd name="T12" fmla="*/ 17 w 126"/>
                <a:gd name="T13" fmla="*/ 123 h 143"/>
                <a:gd name="T14" fmla="*/ 5 w 126"/>
                <a:gd name="T15" fmla="*/ 101 h 143"/>
                <a:gd name="T16" fmla="*/ 0 w 126"/>
                <a:gd name="T17" fmla="*/ 72 h 143"/>
                <a:gd name="T18" fmla="*/ 5 w 126"/>
                <a:gd name="T19" fmla="*/ 43 h 143"/>
                <a:gd name="T20" fmla="*/ 17 w 126"/>
                <a:gd name="T21" fmla="*/ 20 h 143"/>
                <a:gd name="T22" fmla="*/ 37 w 126"/>
                <a:gd name="T23" fmla="*/ 5 h 143"/>
                <a:gd name="T24" fmla="*/ 64 w 126"/>
                <a:gd name="T25" fmla="*/ 0 h 143"/>
                <a:gd name="T26" fmla="*/ 91 w 126"/>
                <a:gd name="T27" fmla="*/ 5 h 143"/>
                <a:gd name="T28" fmla="*/ 110 w 126"/>
                <a:gd name="T29" fmla="*/ 20 h 143"/>
                <a:gd name="T30" fmla="*/ 122 w 126"/>
                <a:gd name="T31" fmla="*/ 43 h 143"/>
                <a:gd name="T32" fmla="*/ 126 w 126"/>
                <a:gd name="T33" fmla="*/ 71 h 143"/>
                <a:gd name="T34" fmla="*/ 92 w 126"/>
                <a:gd name="T35" fmla="*/ 71 h 143"/>
                <a:gd name="T36" fmla="*/ 85 w 126"/>
                <a:gd name="T37" fmla="*/ 37 h 143"/>
                <a:gd name="T38" fmla="*/ 63 w 126"/>
                <a:gd name="T39" fmla="*/ 27 h 143"/>
                <a:gd name="T40" fmla="*/ 42 w 126"/>
                <a:gd name="T41" fmla="*/ 38 h 143"/>
                <a:gd name="T42" fmla="*/ 34 w 126"/>
                <a:gd name="T43" fmla="*/ 71 h 143"/>
                <a:gd name="T44" fmla="*/ 42 w 126"/>
                <a:gd name="T45" fmla="*/ 105 h 143"/>
                <a:gd name="T46" fmla="*/ 63 w 126"/>
                <a:gd name="T47" fmla="*/ 116 h 143"/>
                <a:gd name="T48" fmla="*/ 84 w 126"/>
                <a:gd name="T49" fmla="*/ 105 h 143"/>
                <a:gd name="T50" fmla="*/ 92 w 126"/>
                <a:gd name="T51" fmla="*/ 7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6" h="143">
                  <a:moveTo>
                    <a:pt x="126" y="71"/>
                  </a:moveTo>
                  <a:cubicBezTo>
                    <a:pt x="126" y="82"/>
                    <a:pt x="124" y="92"/>
                    <a:pt x="121" y="101"/>
                  </a:cubicBezTo>
                  <a:cubicBezTo>
                    <a:pt x="118" y="110"/>
                    <a:pt x="114" y="117"/>
                    <a:pt x="108" y="123"/>
                  </a:cubicBezTo>
                  <a:cubicBezTo>
                    <a:pt x="103" y="130"/>
                    <a:pt x="96" y="134"/>
                    <a:pt x="88" y="138"/>
                  </a:cubicBezTo>
                  <a:cubicBezTo>
                    <a:pt x="80" y="141"/>
                    <a:pt x="72" y="143"/>
                    <a:pt x="63" y="143"/>
                  </a:cubicBezTo>
                  <a:cubicBezTo>
                    <a:pt x="53" y="143"/>
                    <a:pt x="44" y="141"/>
                    <a:pt x="36" y="138"/>
                  </a:cubicBezTo>
                  <a:cubicBezTo>
                    <a:pt x="28" y="134"/>
                    <a:pt x="22" y="129"/>
                    <a:pt x="17" y="123"/>
                  </a:cubicBezTo>
                  <a:cubicBezTo>
                    <a:pt x="11" y="117"/>
                    <a:pt x="7" y="110"/>
                    <a:pt x="5" y="101"/>
                  </a:cubicBezTo>
                  <a:cubicBezTo>
                    <a:pt x="2" y="92"/>
                    <a:pt x="0" y="83"/>
                    <a:pt x="0" y="72"/>
                  </a:cubicBezTo>
                  <a:cubicBezTo>
                    <a:pt x="0" y="61"/>
                    <a:pt x="2" y="52"/>
                    <a:pt x="5" y="43"/>
                  </a:cubicBezTo>
                  <a:cubicBezTo>
                    <a:pt x="8" y="34"/>
                    <a:pt x="12" y="26"/>
                    <a:pt x="17" y="20"/>
                  </a:cubicBezTo>
                  <a:cubicBezTo>
                    <a:pt x="23" y="14"/>
                    <a:pt x="29" y="9"/>
                    <a:pt x="37" y="5"/>
                  </a:cubicBezTo>
                  <a:cubicBezTo>
                    <a:pt x="45" y="2"/>
                    <a:pt x="54" y="0"/>
                    <a:pt x="64" y="0"/>
                  </a:cubicBezTo>
                  <a:cubicBezTo>
                    <a:pt x="74" y="0"/>
                    <a:pt x="83" y="2"/>
                    <a:pt x="91" y="5"/>
                  </a:cubicBezTo>
                  <a:cubicBezTo>
                    <a:pt x="99" y="9"/>
                    <a:pt x="105" y="14"/>
                    <a:pt x="110" y="20"/>
                  </a:cubicBezTo>
                  <a:cubicBezTo>
                    <a:pt x="115" y="27"/>
                    <a:pt x="119" y="34"/>
                    <a:pt x="122" y="43"/>
                  </a:cubicBezTo>
                  <a:cubicBezTo>
                    <a:pt x="125" y="51"/>
                    <a:pt x="126" y="61"/>
                    <a:pt x="126" y="71"/>
                  </a:cubicBezTo>
                  <a:close/>
                  <a:moveTo>
                    <a:pt x="92" y="71"/>
                  </a:moveTo>
                  <a:cubicBezTo>
                    <a:pt x="92" y="55"/>
                    <a:pt x="90" y="44"/>
                    <a:pt x="85" y="37"/>
                  </a:cubicBezTo>
                  <a:cubicBezTo>
                    <a:pt x="80" y="30"/>
                    <a:pt x="72" y="27"/>
                    <a:pt x="63" y="27"/>
                  </a:cubicBezTo>
                  <a:cubicBezTo>
                    <a:pt x="54" y="27"/>
                    <a:pt x="47" y="30"/>
                    <a:pt x="42" y="38"/>
                  </a:cubicBezTo>
                  <a:cubicBezTo>
                    <a:pt x="37" y="45"/>
                    <a:pt x="34" y="56"/>
                    <a:pt x="34" y="71"/>
                  </a:cubicBezTo>
                  <a:cubicBezTo>
                    <a:pt x="34" y="87"/>
                    <a:pt x="37" y="98"/>
                    <a:pt x="42" y="105"/>
                  </a:cubicBezTo>
                  <a:cubicBezTo>
                    <a:pt x="47" y="112"/>
                    <a:pt x="54" y="116"/>
                    <a:pt x="63" y="116"/>
                  </a:cubicBezTo>
                  <a:cubicBezTo>
                    <a:pt x="72" y="116"/>
                    <a:pt x="79" y="112"/>
                    <a:pt x="84" y="105"/>
                  </a:cubicBezTo>
                  <a:cubicBezTo>
                    <a:pt x="90" y="98"/>
                    <a:pt x="92" y="87"/>
                    <a:pt x="92" y="7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4" name="Freeform 26"/>
            <p:cNvSpPr>
              <a:spLocks/>
            </p:cNvSpPr>
            <p:nvPr userDrawn="1"/>
          </p:nvSpPr>
          <p:spPr bwMode="auto">
            <a:xfrm>
              <a:off x="8228011" y="2735263"/>
              <a:ext cx="133350" cy="206375"/>
            </a:xfrm>
            <a:custGeom>
              <a:avLst/>
              <a:gdLst>
                <a:gd name="T0" fmla="*/ 31 w 89"/>
                <a:gd name="T1" fmla="*/ 55 h 137"/>
                <a:gd name="T2" fmla="*/ 76 w 89"/>
                <a:gd name="T3" fmla="*/ 55 h 137"/>
                <a:gd name="T4" fmla="*/ 81 w 89"/>
                <a:gd name="T5" fmla="*/ 56 h 137"/>
                <a:gd name="T6" fmla="*/ 82 w 89"/>
                <a:gd name="T7" fmla="*/ 60 h 137"/>
                <a:gd name="T8" fmla="*/ 82 w 89"/>
                <a:gd name="T9" fmla="*/ 75 h 137"/>
                <a:gd name="T10" fmla="*/ 77 w 89"/>
                <a:gd name="T11" fmla="*/ 80 h 137"/>
                <a:gd name="T12" fmla="*/ 31 w 89"/>
                <a:gd name="T13" fmla="*/ 80 h 137"/>
                <a:gd name="T14" fmla="*/ 31 w 89"/>
                <a:gd name="T15" fmla="*/ 132 h 137"/>
                <a:gd name="T16" fmla="*/ 26 w 89"/>
                <a:gd name="T17" fmla="*/ 137 h 137"/>
                <a:gd name="T18" fmla="*/ 7 w 89"/>
                <a:gd name="T19" fmla="*/ 137 h 137"/>
                <a:gd name="T20" fmla="*/ 2 w 89"/>
                <a:gd name="T21" fmla="*/ 136 h 137"/>
                <a:gd name="T22" fmla="*/ 0 w 89"/>
                <a:gd name="T23" fmla="*/ 131 h 137"/>
                <a:gd name="T24" fmla="*/ 0 w 89"/>
                <a:gd name="T25" fmla="*/ 5 h 137"/>
                <a:gd name="T26" fmla="*/ 5 w 89"/>
                <a:gd name="T27" fmla="*/ 0 h 137"/>
                <a:gd name="T28" fmla="*/ 84 w 89"/>
                <a:gd name="T29" fmla="*/ 0 h 137"/>
                <a:gd name="T30" fmla="*/ 88 w 89"/>
                <a:gd name="T31" fmla="*/ 1 h 137"/>
                <a:gd name="T32" fmla="*/ 89 w 89"/>
                <a:gd name="T33" fmla="*/ 4 h 137"/>
                <a:gd name="T34" fmla="*/ 87 w 89"/>
                <a:gd name="T35" fmla="*/ 20 h 137"/>
                <a:gd name="T36" fmla="*/ 85 w 89"/>
                <a:gd name="T37" fmla="*/ 24 h 137"/>
                <a:gd name="T38" fmla="*/ 79 w 89"/>
                <a:gd name="T39" fmla="*/ 25 h 137"/>
                <a:gd name="T40" fmla="*/ 31 w 89"/>
                <a:gd name="T41" fmla="*/ 25 h 137"/>
                <a:gd name="T42" fmla="*/ 31 w 89"/>
                <a:gd name="T43" fmla="*/ 5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9" h="137">
                  <a:moveTo>
                    <a:pt x="31" y="55"/>
                  </a:moveTo>
                  <a:cubicBezTo>
                    <a:pt x="76" y="55"/>
                    <a:pt x="76" y="55"/>
                    <a:pt x="76" y="55"/>
                  </a:cubicBezTo>
                  <a:cubicBezTo>
                    <a:pt x="79" y="55"/>
                    <a:pt x="80" y="55"/>
                    <a:pt x="81" y="56"/>
                  </a:cubicBezTo>
                  <a:cubicBezTo>
                    <a:pt x="82" y="57"/>
                    <a:pt x="82" y="59"/>
                    <a:pt x="82" y="60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8"/>
                    <a:pt x="80" y="80"/>
                    <a:pt x="77" y="80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0" y="137"/>
                    <a:pt x="26" y="137"/>
                  </a:cubicBezTo>
                  <a:cubicBezTo>
                    <a:pt x="7" y="137"/>
                    <a:pt x="7" y="137"/>
                    <a:pt x="7" y="137"/>
                  </a:cubicBezTo>
                  <a:cubicBezTo>
                    <a:pt x="4" y="137"/>
                    <a:pt x="3" y="137"/>
                    <a:pt x="2" y="136"/>
                  </a:cubicBezTo>
                  <a:cubicBezTo>
                    <a:pt x="1" y="135"/>
                    <a:pt x="0" y="133"/>
                    <a:pt x="0" y="13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0"/>
                    <a:pt x="87" y="0"/>
                    <a:pt x="88" y="1"/>
                  </a:cubicBezTo>
                  <a:cubicBezTo>
                    <a:pt x="89" y="2"/>
                    <a:pt x="89" y="3"/>
                    <a:pt x="89" y="4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22"/>
                    <a:pt x="86" y="24"/>
                    <a:pt x="85" y="24"/>
                  </a:cubicBezTo>
                  <a:cubicBezTo>
                    <a:pt x="84" y="25"/>
                    <a:pt x="82" y="25"/>
                    <a:pt x="79" y="25"/>
                  </a:cubicBezTo>
                  <a:cubicBezTo>
                    <a:pt x="31" y="25"/>
                    <a:pt x="31" y="25"/>
                    <a:pt x="31" y="25"/>
                  </a:cubicBezTo>
                  <a:lnTo>
                    <a:pt x="31" y="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5" name="Freeform 27"/>
            <p:cNvSpPr>
              <a:spLocks/>
            </p:cNvSpPr>
            <p:nvPr userDrawn="1"/>
          </p:nvSpPr>
          <p:spPr bwMode="auto">
            <a:xfrm>
              <a:off x="6723061" y="3086101"/>
              <a:ext cx="142875" cy="214313"/>
            </a:xfrm>
            <a:custGeom>
              <a:avLst/>
              <a:gdLst>
                <a:gd name="T0" fmla="*/ 95 w 95"/>
                <a:gd name="T1" fmla="*/ 98 h 143"/>
                <a:gd name="T2" fmla="*/ 91 w 95"/>
                <a:gd name="T3" fmla="*/ 117 h 143"/>
                <a:gd name="T4" fmla="*/ 80 w 95"/>
                <a:gd name="T5" fmla="*/ 131 h 143"/>
                <a:gd name="T6" fmla="*/ 64 w 95"/>
                <a:gd name="T7" fmla="*/ 140 h 143"/>
                <a:gd name="T8" fmla="*/ 45 w 95"/>
                <a:gd name="T9" fmla="*/ 143 h 143"/>
                <a:gd name="T10" fmla="*/ 24 w 95"/>
                <a:gd name="T11" fmla="*/ 141 h 143"/>
                <a:gd name="T12" fmla="*/ 4 w 95"/>
                <a:gd name="T13" fmla="*/ 136 h 143"/>
                <a:gd name="T14" fmla="*/ 0 w 95"/>
                <a:gd name="T15" fmla="*/ 133 h 143"/>
                <a:gd name="T16" fmla="*/ 0 w 95"/>
                <a:gd name="T17" fmla="*/ 128 h 143"/>
                <a:gd name="T18" fmla="*/ 6 w 95"/>
                <a:gd name="T19" fmla="*/ 112 h 143"/>
                <a:gd name="T20" fmla="*/ 7 w 95"/>
                <a:gd name="T21" fmla="*/ 110 h 143"/>
                <a:gd name="T22" fmla="*/ 10 w 95"/>
                <a:gd name="T23" fmla="*/ 109 h 143"/>
                <a:gd name="T24" fmla="*/ 13 w 95"/>
                <a:gd name="T25" fmla="*/ 109 h 143"/>
                <a:gd name="T26" fmla="*/ 29 w 95"/>
                <a:gd name="T27" fmla="*/ 114 h 143"/>
                <a:gd name="T28" fmla="*/ 44 w 95"/>
                <a:gd name="T29" fmla="*/ 116 h 143"/>
                <a:gd name="T30" fmla="*/ 51 w 95"/>
                <a:gd name="T31" fmla="*/ 115 h 143"/>
                <a:gd name="T32" fmla="*/ 57 w 95"/>
                <a:gd name="T33" fmla="*/ 112 h 143"/>
                <a:gd name="T34" fmla="*/ 61 w 95"/>
                <a:gd name="T35" fmla="*/ 108 h 143"/>
                <a:gd name="T36" fmla="*/ 63 w 95"/>
                <a:gd name="T37" fmla="*/ 102 h 143"/>
                <a:gd name="T38" fmla="*/ 59 w 95"/>
                <a:gd name="T39" fmla="*/ 93 h 143"/>
                <a:gd name="T40" fmla="*/ 51 w 95"/>
                <a:gd name="T41" fmla="*/ 88 h 143"/>
                <a:gd name="T42" fmla="*/ 24 w 95"/>
                <a:gd name="T43" fmla="*/ 75 h 143"/>
                <a:gd name="T44" fmla="*/ 7 w 95"/>
                <a:gd name="T45" fmla="*/ 61 h 143"/>
                <a:gd name="T46" fmla="*/ 0 w 95"/>
                <a:gd name="T47" fmla="*/ 40 h 143"/>
                <a:gd name="T48" fmla="*/ 4 w 95"/>
                <a:gd name="T49" fmla="*/ 23 h 143"/>
                <a:gd name="T50" fmla="*/ 16 w 95"/>
                <a:gd name="T51" fmla="*/ 11 h 143"/>
                <a:gd name="T52" fmla="*/ 31 w 95"/>
                <a:gd name="T53" fmla="*/ 3 h 143"/>
                <a:gd name="T54" fmla="*/ 49 w 95"/>
                <a:gd name="T55" fmla="*/ 0 h 143"/>
                <a:gd name="T56" fmla="*/ 69 w 95"/>
                <a:gd name="T57" fmla="*/ 2 h 143"/>
                <a:gd name="T58" fmla="*/ 87 w 95"/>
                <a:gd name="T59" fmla="*/ 8 h 143"/>
                <a:gd name="T60" fmla="*/ 91 w 95"/>
                <a:gd name="T61" fmla="*/ 11 h 143"/>
                <a:gd name="T62" fmla="*/ 91 w 95"/>
                <a:gd name="T63" fmla="*/ 16 h 143"/>
                <a:gd name="T64" fmla="*/ 85 w 95"/>
                <a:gd name="T65" fmla="*/ 31 h 143"/>
                <a:gd name="T66" fmla="*/ 82 w 95"/>
                <a:gd name="T67" fmla="*/ 34 h 143"/>
                <a:gd name="T68" fmla="*/ 77 w 95"/>
                <a:gd name="T69" fmla="*/ 34 h 143"/>
                <a:gd name="T70" fmla="*/ 50 w 95"/>
                <a:gd name="T71" fmla="*/ 27 h 143"/>
                <a:gd name="T72" fmla="*/ 45 w 95"/>
                <a:gd name="T73" fmla="*/ 28 h 143"/>
                <a:gd name="T74" fmla="*/ 39 w 95"/>
                <a:gd name="T75" fmla="*/ 30 h 143"/>
                <a:gd name="T76" fmla="*/ 35 w 95"/>
                <a:gd name="T77" fmla="*/ 34 h 143"/>
                <a:gd name="T78" fmla="*/ 34 w 95"/>
                <a:gd name="T79" fmla="*/ 40 h 143"/>
                <a:gd name="T80" fmla="*/ 35 w 95"/>
                <a:gd name="T81" fmla="*/ 44 h 143"/>
                <a:gd name="T82" fmla="*/ 38 w 95"/>
                <a:gd name="T83" fmla="*/ 47 h 143"/>
                <a:gd name="T84" fmla="*/ 42 w 95"/>
                <a:gd name="T85" fmla="*/ 50 h 143"/>
                <a:gd name="T86" fmla="*/ 47 w 95"/>
                <a:gd name="T87" fmla="*/ 52 h 143"/>
                <a:gd name="T88" fmla="*/ 69 w 95"/>
                <a:gd name="T89" fmla="*/ 62 h 143"/>
                <a:gd name="T90" fmla="*/ 88 w 95"/>
                <a:gd name="T91" fmla="*/ 76 h 143"/>
                <a:gd name="T92" fmla="*/ 95 w 95"/>
                <a:gd name="T93" fmla="*/ 9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43">
                  <a:moveTo>
                    <a:pt x="95" y="98"/>
                  </a:moveTo>
                  <a:cubicBezTo>
                    <a:pt x="95" y="105"/>
                    <a:pt x="94" y="112"/>
                    <a:pt x="91" y="117"/>
                  </a:cubicBezTo>
                  <a:cubicBezTo>
                    <a:pt x="88" y="123"/>
                    <a:pt x="85" y="127"/>
                    <a:pt x="80" y="131"/>
                  </a:cubicBezTo>
                  <a:cubicBezTo>
                    <a:pt x="76" y="135"/>
                    <a:pt x="70" y="138"/>
                    <a:pt x="64" y="140"/>
                  </a:cubicBezTo>
                  <a:cubicBezTo>
                    <a:pt x="58" y="142"/>
                    <a:pt x="52" y="143"/>
                    <a:pt x="45" y="143"/>
                  </a:cubicBezTo>
                  <a:cubicBezTo>
                    <a:pt x="39" y="143"/>
                    <a:pt x="32" y="142"/>
                    <a:pt x="24" y="141"/>
                  </a:cubicBezTo>
                  <a:cubicBezTo>
                    <a:pt x="17" y="140"/>
                    <a:pt x="10" y="138"/>
                    <a:pt x="4" y="136"/>
                  </a:cubicBezTo>
                  <a:cubicBezTo>
                    <a:pt x="2" y="135"/>
                    <a:pt x="1" y="134"/>
                    <a:pt x="0" y="133"/>
                  </a:cubicBezTo>
                  <a:cubicBezTo>
                    <a:pt x="0" y="132"/>
                    <a:pt x="0" y="131"/>
                    <a:pt x="0" y="128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1"/>
                    <a:pt x="6" y="110"/>
                    <a:pt x="7" y="110"/>
                  </a:cubicBezTo>
                  <a:cubicBezTo>
                    <a:pt x="8" y="109"/>
                    <a:pt x="9" y="109"/>
                    <a:pt x="10" y="109"/>
                  </a:cubicBezTo>
                  <a:cubicBezTo>
                    <a:pt x="11" y="109"/>
                    <a:pt x="12" y="109"/>
                    <a:pt x="13" y="109"/>
                  </a:cubicBezTo>
                  <a:cubicBezTo>
                    <a:pt x="18" y="111"/>
                    <a:pt x="23" y="113"/>
                    <a:pt x="29" y="114"/>
                  </a:cubicBezTo>
                  <a:cubicBezTo>
                    <a:pt x="34" y="115"/>
                    <a:pt x="39" y="116"/>
                    <a:pt x="44" y="116"/>
                  </a:cubicBezTo>
                  <a:cubicBezTo>
                    <a:pt x="46" y="116"/>
                    <a:pt x="48" y="115"/>
                    <a:pt x="51" y="115"/>
                  </a:cubicBezTo>
                  <a:cubicBezTo>
                    <a:pt x="53" y="114"/>
                    <a:pt x="55" y="113"/>
                    <a:pt x="57" y="112"/>
                  </a:cubicBezTo>
                  <a:cubicBezTo>
                    <a:pt x="58" y="111"/>
                    <a:pt x="60" y="110"/>
                    <a:pt x="61" y="108"/>
                  </a:cubicBezTo>
                  <a:cubicBezTo>
                    <a:pt x="62" y="106"/>
                    <a:pt x="63" y="104"/>
                    <a:pt x="63" y="102"/>
                  </a:cubicBezTo>
                  <a:cubicBezTo>
                    <a:pt x="63" y="98"/>
                    <a:pt x="62" y="95"/>
                    <a:pt x="59" y="93"/>
                  </a:cubicBezTo>
                  <a:cubicBezTo>
                    <a:pt x="57" y="91"/>
                    <a:pt x="54" y="89"/>
                    <a:pt x="51" y="8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17" y="72"/>
                    <a:pt x="11" y="67"/>
                    <a:pt x="7" y="61"/>
                  </a:cubicBezTo>
                  <a:cubicBezTo>
                    <a:pt x="2" y="55"/>
                    <a:pt x="0" y="48"/>
                    <a:pt x="0" y="40"/>
                  </a:cubicBezTo>
                  <a:cubicBezTo>
                    <a:pt x="0" y="33"/>
                    <a:pt x="1" y="28"/>
                    <a:pt x="4" y="23"/>
                  </a:cubicBezTo>
                  <a:cubicBezTo>
                    <a:pt x="7" y="18"/>
                    <a:pt x="11" y="14"/>
                    <a:pt x="16" y="11"/>
                  </a:cubicBezTo>
                  <a:cubicBezTo>
                    <a:pt x="20" y="7"/>
                    <a:pt x="25" y="5"/>
                    <a:pt x="31" y="3"/>
                  </a:cubicBezTo>
                  <a:cubicBezTo>
                    <a:pt x="37" y="1"/>
                    <a:pt x="43" y="0"/>
                    <a:pt x="49" y="0"/>
                  </a:cubicBezTo>
                  <a:cubicBezTo>
                    <a:pt x="56" y="0"/>
                    <a:pt x="62" y="1"/>
                    <a:pt x="69" y="2"/>
                  </a:cubicBezTo>
                  <a:cubicBezTo>
                    <a:pt x="75" y="4"/>
                    <a:pt x="81" y="6"/>
                    <a:pt x="87" y="8"/>
                  </a:cubicBezTo>
                  <a:cubicBezTo>
                    <a:pt x="89" y="9"/>
                    <a:pt x="91" y="10"/>
                    <a:pt x="91" y="11"/>
                  </a:cubicBezTo>
                  <a:cubicBezTo>
                    <a:pt x="92" y="12"/>
                    <a:pt x="92" y="14"/>
                    <a:pt x="91" y="16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4" y="33"/>
                    <a:pt x="83" y="34"/>
                    <a:pt x="82" y="34"/>
                  </a:cubicBezTo>
                  <a:cubicBezTo>
                    <a:pt x="81" y="35"/>
                    <a:pt x="79" y="34"/>
                    <a:pt x="77" y="34"/>
                  </a:cubicBezTo>
                  <a:cubicBezTo>
                    <a:pt x="67" y="29"/>
                    <a:pt x="58" y="27"/>
                    <a:pt x="50" y="27"/>
                  </a:cubicBezTo>
                  <a:cubicBezTo>
                    <a:pt x="49" y="27"/>
                    <a:pt x="47" y="28"/>
                    <a:pt x="45" y="28"/>
                  </a:cubicBezTo>
                  <a:cubicBezTo>
                    <a:pt x="43" y="28"/>
                    <a:pt x="41" y="29"/>
                    <a:pt x="39" y="30"/>
                  </a:cubicBezTo>
                  <a:cubicBezTo>
                    <a:pt x="37" y="31"/>
                    <a:pt x="36" y="32"/>
                    <a:pt x="35" y="34"/>
                  </a:cubicBezTo>
                  <a:cubicBezTo>
                    <a:pt x="34" y="35"/>
                    <a:pt x="34" y="37"/>
                    <a:pt x="34" y="40"/>
                  </a:cubicBezTo>
                  <a:cubicBezTo>
                    <a:pt x="34" y="41"/>
                    <a:pt x="34" y="43"/>
                    <a:pt x="35" y="44"/>
                  </a:cubicBezTo>
                  <a:cubicBezTo>
                    <a:pt x="36" y="45"/>
                    <a:pt x="37" y="46"/>
                    <a:pt x="38" y="47"/>
                  </a:cubicBezTo>
                  <a:cubicBezTo>
                    <a:pt x="40" y="48"/>
                    <a:pt x="41" y="49"/>
                    <a:pt x="42" y="50"/>
                  </a:cubicBezTo>
                  <a:cubicBezTo>
                    <a:pt x="44" y="51"/>
                    <a:pt x="45" y="52"/>
                    <a:pt x="47" y="5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77" y="66"/>
                    <a:pt x="83" y="71"/>
                    <a:pt x="88" y="76"/>
                  </a:cubicBezTo>
                  <a:cubicBezTo>
                    <a:pt x="93" y="82"/>
                    <a:pt x="95" y="89"/>
                    <a:pt x="95" y="9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6" name="Freeform 28"/>
            <p:cNvSpPr>
              <a:spLocks/>
            </p:cNvSpPr>
            <p:nvPr userDrawn="1"/>
          </p:nvSpPr>
          <p:spPr bwMode="auto">
            <a:xfrm>
              <a:off x="6924674" y="3090863"/>
              <a:ext cx="179387" cy="209550"/>
            </a:xfrm>
            <a:custGeom>
              <a:avLst/>
              <a:gdLst>
                <a:gd name="T0" fmla="*/ 120 w 120"/>
                <a:gd name="T1" fmla="*/ 76 h 140"/>
                <a:gd name="T2" fmla="*/ 116 w 120"/>
                <a:gd name="T3" fmla="*/ 105 h 140"/>
                <a:gd name="T4" fmla="*/ 104 w 120"/>
                <a:gd name="T5" fmla="*/ 125 h 140"/>
                <a:gd name="T6" fmla="*/ 84 w 120"/>
                <a:gd name="T7" fmla="*/ 136 h 140"/>
                <a:gd name="T8" fmla="*/ 59 w 120"/>
                <a:gd name="T9" fmla="*/ 140 h 140"/>
                <a:gd name="T10" fmla="*/ 14 w 120"/>
                <a:gd name="T11" fmla="*/ 124 h 140"/>
                <a:gd name="T12" fmla="*/ 0 w 120"/>
                <a:gd name="T13" fmla="*/ 76 h 140"/>
                <a:gd name="T14" fmla="*/ 0 w 120"/>
                <a:gd name="T15" fmla="*/ 5 h 140"/>
                <a:gd name="T16" fmla="*/ 1 w 120"/>
                <a:gd name="T17" fmla="*/ 1 h 140"/>
                <a:gd name="T18" fmla="*/ 6 w 120"/>
                <a:gd name="T19" fmla="*/ 0 h 140"/>
                <a:gd name="T20" fmla="*/ 26 w 120"/>
                <a:gd name="T21" fmla="*/ 0 h 140"/>
                <a:gd name="T22" fmla="*/ 30 w 120"/>
                <a:gd name="T23" fmla="*/ 1 h 140"/>
                <a:gd name="T24" fmla="*/ 31 w 120"/>
                <a:gd name="T25" fmla="*/ 5 h 140"/>
                <a:gd name="T26" fmla="*/ 31 w 120"/>
                <a:gd name="T27" fmla="*/ 74 h 140"/>
                <a:gd name="T28" fmla="*/ 33 w 120"/>
                <a:gd name="T29" fmla="*/ 93 h 140"/>
                <a:gd name="T30" fmla="*/ 39 w 120"/>
                <a:gd name="T31" fmla="*/ 105 h 140"/>
                <a:gd name="T32" fmla="*/ 48 w 120"/>
                <a:gd name="T33" fmla="*/ 112 h 140"/>
                <a:gd name="T34" fmla="*/ 60 w 120"/>
                <a:gd name="T35" fmla="*/ 114 h 140"/>
                <a:gd name="T36" fmla="*/ 72 w 120"/>
                <a:gd name="T37" fmla="*/ 112 h 140"/>
                <a:gd name="T38" fmla="*/ 81 w 120"/>
                <a:gd name="T39" fmla="*/ 105 h 140"/>
                <a:gd name="T40" fmla="*/ 86 w 120"/>
                <a:gd name="T41" fmla="*/ 93 h 140"/>
                <a:gd name="T42" fmla="*/ 88 w 120"/>
                <a:gd name="T43" fmla="*/ 74 h 140"/>
                <a:gd name="T44" fmla="*/ 88 w 120"/>
                <a:gd name="T45" fmla="*/ 5 h 140"/>
                <a:gd name="T46" fmla="*/ 90 w 120"/>
                <a:gd name="T47" fmla="*/ 1 h 140"/>
                <a:gd name="T48" fmla="*/ 94 w 120"/>
                <a:gd name="T49" fmla="*/ 0 h 140"/>
                <a:gd name="T50" fmla="*/ 114 w 120"/>
                <a:gd name="T51" fmla="*/ 0 h 140"/>
                <a:gd name="T52" fmla="*/ 118 w 120"/>
                <a:gd name="T53" fmla="*/ 1 h 140"/>
                <a:gd name="T54" fmla="*/ 120 w 120"/>
                <a:gd name="T55" fmla="*/ 5 h 140"/>
                <a:gd name="T56" fmla="*/ 120 w 120"/>
                <a:gd name="T57" fmla="*/ 7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0" h="140">
                  <a:moveTo>
                    <a:pt x="120" y="76"/>
                  </a:moveTo>
                  <a:cubicBezTo>
                    <a:pt x="120" y="87"/>
                    <a:pt x="118" y="96"/>
                    <a:pt x="116" y="105"/>
                  </a:cubicBezTo>
                  <a:cubicBezTo>
                    <a:pt x="113" y="113"/>
                    <a:pt x="109" y="119"/>
                    <a:pt x="104" y="125"/>
                  </a:cubicBezTo>
                  <a:cubicBezTo>
                    <a:pt x="98" y="130"/>
                    <a:pt x="92" y="134"/>
                    <a:pt x="84" y="136"/>
                  </a:cubicBezTo>
                  <a:cubicBezTo>
                    <a:pt x="77" y="139"/>
                    <a:pt x="68" y="140"/>
                    <a:pt x="59" y="140"/>
                  </a:cubicBezTo>
                  <a:cubicBezTo>
                    <a:pt x="38" y="140"/>
                    <a:pt x="24" y="135"/>
                    <a:pt x="14" y="124"/>
                  </a:cubicBezTo>
                  <a:cubicBezTo>
                    <a:pt x="5" y="113"/>
                    <a:pt x="0" y="97"/>
                    <a:pt x="0" y="7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9" y="1"/>
                    <a:pt x="30" y="1"/>
                  </a:cubicBezTo>
                  <a:cubicBezTo>
                    <a:pt x="31" y="2"/>
                    <a:pt x="31" y="3"/>
                    <a:pt x="31" y="5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81"/>
                    <a:pt x="32" y="88"/>
                    <a:pt x="33" y="93"/>
                  </a:cubicBezTo>
                  <a:cubicBezTo>
                    <a:pt x="35" y="98"/>
                    <a:pt x="36" y="102"/>
                    <a:pt x="39" y="105"/>
                  </a:cubicBezTo>
                  <a:cubicBezTo>
                    <a:pt x="41" y="108"/>
                    <a:pt x="44" y="110"/>
                    <a:pt x="48" y="112"/>
                  </a:cubicBezTo>
                  <a:cubicBezTo>
                    <a:pt x="52" y="113"/>
                    <a:pt x="56" y="114"/>
                    <a:pt x="60" y="114"/>
                  </a:cubicBezTo>
                  <a:cubicBezTo>
                    <a:pt x="65" y="114"/>
                    <a:pt x="69" y="113"/>
                    <a:pt x="72" y="112"/>
                  </a:cubicBezTo>
                  <a:cubicBezTo>
                    <a:pt x="76" y="110"/>
                    <a:pt x="79" y="108"/>
                    <a:pt x="81" y="105"/>
                  </a:cubicBezTo>
                  <a:cubicBezTo>
                    <a:pt x="83" y="102"/>
                    <a:pt x="85" y="98"/>
                    <a:pt x="86" y="93"/>
                  </a:cubicBezTo>
                  <a:cubicBezTo>
                    <a:pt x="88" y="88"/>
                    <a:pt x="88" y="81"/>
                    <a:pt x="88" y="7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3"/>
                    <a:pt x="89" y="2"/>
                    <a:pt x="90" y="1"/>
                  </a:cubicBezTo>
                  <a:cubicBezTo>
                    <a:pt x="91" y="1"/>
                    <a:pt x="93" y="0"/>
                    <a:pt x="9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7" y="1"/>
                    <a:pt x="118" y="1"/>
                  </a:cubicBezTo>
                  <a:cubicBezTo>
                    <a:pt x="119" y="2"/>
                    <a:pt x="120" y="3"/>
                    <a:pt x="120" y="5"/>
                  </a:cubicBezTo>
                  <a:lnTo>
                    <a:pt x="120" y="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7" name="Freeform 29"/>
            <p:cNvSpPr>
              <a:spLocks/>
            </p:cNvSpPr>
            <p:nvPr userDrawn="1"/>
          </p:nvSpPr>
          <p:spPr bwMode="auto">
            <a:xfrm>
              <a:off x="7161211" y="3086101"/>
              <a:ext cx="161925" cy="214313"/>
            </a:xfrm>
            <a:custGeom>
              <a:avLst/>
              <a:gdLst>
                <a:gd name="T0" fmla="*/ 104 w 108"/>
                <a:gd name="T1" fmla="*/ 8 h 143"/>
                <a:gd name="T2" fmla="*/ 107 w 108"/>
                <a:gd name="T3" fmla="*/ 15 h 143"/>
                <a:gd name="T4" fmla="*/ 101 w 108"/>
                <a:gd name="T5" fmla="*/ 31 h 143"/>
                <a:gd name="T6" fmla="*/ 96 w 108"/>
                <a:gd name="T7" fmla="*/ 34 h 143"/>
                <a:gd name="T8" fmla="*/ 81 w 108"/>
                <a:gd name="T9" fmla="*/ 29 h 143"/>
                <a:gd name="T10" fmla="*/ 68 w 108"/>
                <a:gd name="T11" fmla="*/ 27 h 143"/>
                <a:gd name="T12" fmla="*/ 43 w 108"/>
                <a:gd name="T13" fmla="*/ 38 h 143"/>
                <a:gd name="T14" fmla="*/ 34 w 108"/>
                <a:gd name="T15" fmla="*/ 72 h 143"/>
                <a:gd name="T16" fmla="*/ 37 w 108"/>
                <a:gd name="T17" fmla="*/ 92 h 143"/>
                <a:gd name="T18" fmla="*/ 44 w 108"/>
                <a:gd name="T19" fmla="*/ 106 h 143"/>
                <a:gd name="T20" fmla="*/ 55 w 108"/>
                <a:gd name="T21" fmla="*/ 114 h 143"/>
                <a:gd name="T22" fmla="*/ 69 w 108"/>
                <a:gd name="T23" fmla="*/ 116 h 143"/>
                <a:gd name="T24" fmla="*/ 82 w 108"/>
                <a:gd name="T25" fmla="*/ 115 h 143"/>
                <a:gd name="T26" fmla="*/ 95 w 108"/>
                <a:gd name="T27" fmla="*/ 111 h 143"/>
                <a:gd name="T28" fmla="*/ 99 w 108"/>
                <a:gd name="T29" fmla="*/ 110 h 143"/>
                <a:gd name="T30" fmla="*/ 102 w 108"/>
                <a:gd name="T31" fmla="*/ 113 h 143"/>
                <a:gd name="T32" fmla="*/ 107 w 108"/>
                <a:gd name="T33" fmla="*/ 128 h 143"/>
                <a:gd name="T34" fmla="*/ 107 w 108"/>
                <a:gd name="T35" fmla="*/ 132 h 143"/>
                <a:gd name="T36" fmla="*/ 104 w 108"/>
                <a:gd name="T37" fmla="*/ 135 h 143"/>
                <a:gd name="T38" fmla="*/ 86 w 108"/>
                <a:gd name="T39" fmla="*/ 141 h 143"/>
                <a:gd name="T40" fmla="*/ 64 w 108"/>
                <a:gd name="T41" fmla="*/ 143 h 143"/>
                <a:gd name="T42" fmla="*/ 36 w 108"/>
                <a:gd name="T43" fmla="*/ 138 h 143"/>
                <a:gd name="T44" fmla="*/ 16 w 108"/>
                <a:gd name="T45" fmla="*/ 124 h 143"/>
                <a:gd name="T46" fmla="*/ 4 w 108"/>
                <a:gd name="T47" fmla="*/ 102 h 143"/>
                <a:gd name="T48" fmla="*/ 0 w 108"/>
                <a:gd name="T49" fmla="*/ 73 h 143"/>
                <a:gd name="T50" fmla="*/ 5 w 108"/>
                <a:gd name="T51" fmla="*/ 43 h 143"/>
                <a:gd name="T52" fmla="*/ 18 w 108"/>
                <a:gd name="T53" fmla="*/ 20 h 143"/>
                <a:gd name="T54" fmla="*/ 39 w 108"/>
                <a:gd name="T55" fmla="*/ 6 h 143"/>
                <a:gd name="T56" fmla="*/ 66 w 108"/>
                <a:gd name="T57" fmla="*/ 0 h 143"/>
                <a:gd name="T58" fmla="*/ 86 w 108"/>
                <a:gd name="T59" fmla="*/ 2 h 143"/>
                <a:gd name="T60" fmla="*/ 104 w 108"/>
                <a:gd name="T61" fmla="*/ 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43">
                  <a:moveTo>
                    <a:pt x="104" y="8"/>
                  </a:moveTo>
                  <a:cubicBezTo>
                    <a:pt x="107" y="10"/>
                    <a:pt x="108" y="12"/>
                    <a:pt x="107" y="15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0" y="34"/>
                    <a:pt x="99" y="35"/>
                    <a:pt x="96" y="34"/>
                  </a:cubicBezTo>
                  <a:cubicBezTo>
                    <a:pt x="91" y="31"/>
                    <a:pt x="86" y="30"/>
                    <a:pt x="81" y="29"/>
                  </a:cubicBezTo>
                  <a:cubicBezTo>
                    <a:pt x="77" y="27"/>
                    <a:pt x="73" y="27"/>
                    <a:pt x="68" y="27"/>
                  </a:cubicBezTo>
                  <a:cubicBezTo>
                    <a:pt x="58" y="27"/>
                    <a:pt x="49" y="31"/>
                    <a:pt x="43" y="38"/>
                  </a:cubicBezTo>
                  <a:cubicBezTo>
                    <a:pt x="37" y="46"/>
                    <a:pt x="34" y="57"/>
                    <a:pt x="34" y="72"/>
                  </a:cubicBezTo>
                  <a:cubicBezTo>
                    <a:pt x="34" y="79"/>
                    <a:pt x="35" y="86"/>
                    <a:pt x="37" y="92"/>
                  </a:cubicBezTo>
                  <a:cubicBezTo>
                    <a:pt x="39" y="97"/>
                    <a:pt x="41" y="102"/>
                    <a:pt x="44" y="106"/>
                  </a:cubicBezTo>
                  <a:cubicBezTo>
                    <a:pt x="47" y="109"/>
                    <a:pt x="51" y="112"/>
                    <a:pt x="55" y="114"/>
                  </a:cubicBezTo>
                  <a:cubicBezTo>
                    <a:pt x="59" y="116"/>
                    <a:pt x="64" y="116"/>
                    <a:pt x="69" y="116"/>
                  </a:cubicBezTo>
                  <a:cubicBezTo>
                    <a:pt x="73" y="116"/>
                    <a:pt x="78" y="116"/>
                    <a:pt x="82" y="115"/>
                  </a:cubicBezTo>
                  <a:cubicBezTo>
                    <a:pt x="86" y="114"/>
                    <a:pt x="90" y="113"/>
                    <a:pt x="95" y="111"/>
                  </a:cubicBezTo>
                  <a:cubicBezTo>
                    <a:pt x="97" y="110"/>
                    <a:pt x="98" y="110"/>
                    <a:pt x="99" y="110"/>
                  </a:cubicBezTo>
                  <a:cubicBezTo>
                    <a:pt x="100" y="110"/>
                    <a:pt x="101" y="111"/>
                    <a:pt x="102" y="113"/>
                  </a:cubicBezTo>
                  <a:cubicBezTo>
                    <a:pt x="107" y="128"/>
                    <a:pt x="107" y="128"/>
                    <a:pt x="107" y="128"/>
                  </a:cubicBezTo>
                  <a:cubicBezTo>
                    <a:pt x="107" y="129"/>
                    <a:pt x="107" y="131"/>
                    <a:pt x="107" y="132"/>
                  </a:cubicBezTo>
                  <a:cubicBezTo>
                    <a:pt x="107" y="133"/>
                    <a:pt x="106" y="134"/>
                    <a:pt x="104" y="135"/>
                  </a:cubicBezTo>
                  <a:cubicBezTo>
                    <a:pt x="98" y="138"/>
                    <a:pt x="92" y="140"/>
                    <a:pt x="86" y="141"/>
                  </a:cubicBezTo>
                  <a:cubicBezTo>
                    <a:pt x="79" y="142"/>
                    <a:pt x="71" y="143"/>
                    <a:pt x="64" y="143"/>
                  </a:cubicBezTo>
                  <a:cubicBezTo>
                    <a:pt x="53" y="143"/>
                    <a:pt x="44" y="141"/>
                    <a:pt x="36" y="138"/>
                  </a:cubicBezTo>
                  <a:cubicBezTo>
                    <a:pt x="28" y="135"/>
                    <a:pt x="22" y="130"/>
                    <a:pt x="16" y="124"/>
                  </a:cubicBezTo>
                  <a:cubicBezTo>
                    <a:pt x="11" y="118"/>
                    <a:pt x="7" y="110"/>
                    <a:pt x="4" y="102"/>
                  </a:cubicBezTo>
                  <a:cubicBezTo>
                    <a:pt x="2" y="93"/>
                    <a:pt x="0" y="83"/>
                    <a:pt x="0" y="73"/>
                  </a:cubicBezTo>
                  <a:cubicBezTo>
                    <a:pt x="0" y="62"/>
                    <a:pt x="2" y="52"/>
                    <a:pt x="5" y="43"/>
                  </a:cubicBezTo>
                  <a:cubicBezTo>
                    <a:pt x="8" y="34"/>
                    <a:pt x="13" y="27"/>
                    <a:pt x="18" y="20"/>
                  </a:cubicBezTo>
                  <a:cubicBezTo>
                    <a:pt x="24" y="14"/>
                    <a:pt x="31" y="9"/>
                    <a:pt x="39" y="6"/>
                  </a:cubicBezTo>
                  <a:cubicBezTo>
                    <a:pt x="47" y="2"/>
                    <a:pt x="56" y="0"/>
                    <a:pt x="66" y="0"/>
                  </a:cubicBezTo>
                  <a:cubicBezTo>
                    <a:pt x="73" y="0"/>
                    <a:pt x="80" y="1"/>
                    <a:pt x="86" y="2"/>
                  </a:cubicBezTo>
                  <a:cubicBezTo>
                    <a:pt x="92" y="4"/>
                    <a:pt x="98" y="6"/>
                    <a:pt x="104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8" name="Freeform 30"/>
            <p:cNvSpPr>
              <a:spLocks/>
            </p:cNvSpPr>
            <p:nvPr userDrawn="1"/>
          </p:nvSpPr>
          <p:spPr bwMode="auto">
            <a:xfrm>
              <a:off x="7369174" y="3086101"/>
              <a:ext cx="160337" cy="214313"/>
            </a:xfrm>
            <a:custGeom>
              <a:avLst/>
              <a:gdLst>
                <a:gd name="T0" fmla="*/ 103 w 107"/>
                <a:gd name="T1" fmla="*/ 8 h 143"/>
                <a:gd name="T2" fmla="*/ 106 w 107"/>
                <a:gd name="T3" fmla="*/ 15 h 143"/>
                <a:gd name="T4" fmla="*/ 101 w 107"/>
                <a:gd name="T5" fmla="*/ 31 h 143"/>
                <a:gd name="T6" fmla="*/ 95 w 107"/>
                <a:gd name="T7" fmla="*/ 34 h 143"/>
                <a:gd name="T8" fmla="*/ 81 w 107"/>
                <a:gd name="T9" fmla="*/ 29 h 143"/>
                <a:gd name="T10" fmla="*/ 67 w 107"/>
                <a:gd name="T11" fmla="*/ 27 h 143"/>
                <a:gd name="T12" fmla="*/ 43 w 107"/>
                <a:gd name="T13" fmla="*/ 38 h 143"/>
                <a:gd name="T14" fmla="*/ 33 w 107"/>
                <a:gd name="T15" fmla="*/ 72 h 143"/>
                <a:gd name="T16" fmla="*/ 36 w 107"/>
                <a:gd name="T17" fmla="*/ 92 h 143"/>
                <a:gd name="T18" fmla="*/ 43 w 107"/>
                <a:gd name="T19" fmla="*/ 106 h 143"/>
                <a:gd name="T20" fmla="*/ 54 w 107"/>
                <a:gd name="T21" fmla="*/ 114 h 143"/>
                <a:gd name="T22" fmla="*/ 68 w 107"/>
                <a:gd name="T23" fmla="*/ 116 h 143"/>
                <a:gd name="T24" fmla="*/ 81 w 107"/>
                <a:gd name="T25" fmla="*/ 115 h 143"/>
                <a:gd name="T26" fmla="*/ 95 w 107"/>
                <a:gd name="T27" fmla="*/ 111 h 143"/>
                <a:gd name="T28" fmla="*/ 98 w 107"/>
                <a:gd name="T29" fmla="*/ 110 h 143"/>
                <a:gd name="T30" fmla="*/ 101 w 107"/>
                <a:gd name="T31" fmla="*/ 113 h 143"/>
                <a:gd name="T32" fmla="*/ 106 w 107"/>
                <a:gd name="T33" fmla="*/ 128 h 143"/>
                <a:gd name="T34" fmla="*/ 107 w 107"/>
                <a:gd name="T35" fmla="*/ 132 h 143"/>
                <a:gd name="T36" fmla="*/ 103 w 107"/>
                <a:gd name="T37" fmla="*/ 135 h 143"/>
                <a:gd name="T38" fmla="*/ 85 w 107"/>
                <a:gd name="T39" fmla="*/ 141 h 143"/>
                <a:gd name="T40" fmla="*/ 63 w 107"/>
                <a:gd name="T41" fmla="*/ 143 h 143"/>
                <a:gd name="T42" fmla="*/ 35 w 107"/>
                <a:gd name="T43" fmla="*/ 138 h 143"/>
                <a:gd name="T44" fmla="*/ 16 w 107"/>
                <a:gd name="T45" fmla="*/ 124 h 143"/>
                <a:gd name="T46" fmla="*/ 4 w 107"/>
                <a:gd name="T47" fmla="*/ 102 h 143"/>
                <a:gd name="T48" fmla="*/ 0 w 107"/>
                <a:gd name="T49" fmla="*/ 73 h 143"/>
                <a:gd name="T50" fmla="*/ 4 w 107"/>
                <a:gd name="T51" fmla="*/ 43 h 143"/>
                <a:gd name="T52" fmla="*/ 18 w 107"/>
                <a:gd name="T53" fmla="*/ 20 h 143"/>
                <a:gd name="T54" fmla="*/ 38 w 107"/>
                <a:gd name="T55" fmla="*/ 6 h 143"/>
                <a:gd name="T56" fmla="*/ 65 w 107"/>
                <a:gd name="T57" fmla="*/ 0 h 143"/>
                <a:gd name="T58" fmla="*/ 85 w 107"/>
                <a:gd name="T59" fmla="*/ 2 h 143"/>
                <a:gd name="T60" fmla="*/ 103 w 107"/>
                <a:gd name="T61" fmla="*/ 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7" h="143">
                  <a:moveTo>
                    <a:pt x="103" y="8"/>
                  </a:moveTo>
                  <a:cubicBezTo>
                    <a:pt x="106" y="10"/>
                    <a:pt x="107" y="12"/>
                    <a:pt x="106" y="15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0" y="34"/>
                    <a:pt x="98" y="35"/>
                    <a:pt x="95" y="34"/>
                  </a:cubicBezTo>
                  <a:cubicBezTo>
                    <a:pt x="90" y="31"/>
                    <a:pt x="85" y="30"/>
                    <a:pt x="81" y="29"/>
                  </a:cubicBezTo>
                  <a:cubicBezTo>
                    <a:pt x="76" y="27"/>
                    <a:pt x="72" y="27"/>
                    <a:pt x="67" y="27"/>
                  </a:cubicBezTo>
                  <a:cubicBezTo>
                    <a:pt x="57" y="27"/>
                    <a:pt x="49" y="31"/>
                    <a:pt x="43" y="38"/>
                  </a:cubicBezTo>
                  <a:cubicBezTo>
                    <a:pt x="36" y="46"/>
                    <a:pt x="33" y="57"/>
                    <a:pt x="33" y="72"/>
                  </a:cubicBezTo>
                  <a:cubicBezTo>
                    <a:pt x="33" y="79"/>
                    <a:pt x="34" y="86"/>
                    <a:pt x="36" y="92"/>
                  </a:cubicBezTo>
                  <a:cubicBezTo>
                    <a:pt x="38" y="97"/>
                    <a:pt x="40" y="102"/>
                    <a:pt x="43" y="106"/>
                  </a:cubicBezTo>
                  <a:cubicBezTo>
                    <a:pt x="46" y="109"/>
                    <a:pt x="50" y="112"/>
                    <a:pt x="54" y="114"/>
                  </a:cubicBezTo>
                  <a:cubicBezTo>
                    <a:pt x="58" y="116"/>
                    <a:pt x="63" y="116"/>
                    <a:pt x="68" y="116"/>
                  </a:cubicBezTo>
                  <a:cubicBezTo>
                    <a:pt x="72" y="116"/>
                    <a:pt x="77" y="116"/>
                    <a:pt x="81" y="115"/>
                  </a:cubicBezTo>
                  <a:cubicBezTo>
                    <a:pt x="85" y="114"/>
                    <a:pt x="90" y="113"/>
                    <a:pt x="95" y="111"/>
                  </a:cubicBezTo>
                  <a:cubicBezTo>
                    <a:pt x="96" y="110"/>
                    <a:pt x="97" y="110"/>
                    <a:pt x="98" y="110"/>
                  </a:cubicBezTo>
                  <a:cubicBezTo>
                    <a:pt x="99" y="110"/>
                    <a:pt x="100" y="111"/>
                    <a:pt x="101" y="113"/>
                  </a:cubicBezTo>
                  <a:cubicBezTo>
                    <a:pt x="106" y="128"/>
                    <a:pt x="106" y="128"/>
                    <a:pt x="106" y="128"/>
                  </a:cubicBezTo>
                  <a:cubicBezTo>
                    <a:pt x="107" y="129"/>
                    <a:pt x="107" y="131"/>
                    <a:pt x="107" y="132"/>
                  </a:cubicBezTo>
                  <a:cubicBezTo>
                    <a:pt x="106" y="133"/>
                    <a:pt x="105" y="134"/>
                    <a:pt x="103" y="135"/>
                  </a:cubicBezTo>
                  <a:cubicBezTo>
                    <a:pt x="98" y="138"/>
                    <a:pt x="92" y="140"/>
                    <a:pt x="85" y="141"/>
                  </a:cubicBezTo>
                  <a:cubicBezTo>
                    <a:pt x="78" y="142"/>
                    <a:pt x="71" y="143"/>
                    <a:pt x="63" y="143"/>
                  </a:cubicBezTo>
                  <a:cubicBezTo>
                    <a:pt x="53" y="143"/>
                    <a:pt x="43" y="141"/>
                    <a:pt x="35" y="138"/>
                  </a:cubicBezTo>
                  <a:cubicBezTo>
                    <a:pt x="28" y="135"/>
                    <a:pt x="21" y="130"/>
                    <a:pt x="16" y="124"/>
                  </a:cubicBezTo>
                  <a:cubicBezTo>
                    <a:pt x="10" y="118"/>
                    <a:pt x="6" y="110"/>
                    <a:pt x="4" y="102"/>
                  </a:cubicBezTo>
                  <a:cubicBezTo>
                    <a:pt x="1" y="93"/>
                    <a:pt x="0" y="83"/>
                    <a:pt x="0" y="73"/>
                  </a:cubicBezTo>
                  <a:cubicBezTo>
                    <a:pt x="0" y="62"/>
                    <a:pt x="1" y="52"/>
                    <a:pt x="4" y="43"/>
                  </a:cubicBezTo>
                  <a:cubicBezTo>
                    <a:pt x="7" y="34"/>
                    <a:pt x="12" y="27"/>
                    <a:pt x="18" y="20"/>
                  </a:cubicBezTo>
                  <a:cubicBezTo>
                    <a:pt x="23" y="14"/>
                    <a:pt x="30" y="9"/>
                    <a:pt x="38" y="6"/>
                  </a:cubicBezTo>
                  <a:cubicBezTo>
                    <a:pt x="47" y="2"/>
                    <a:pt x="56" y="0"/>
                    <a:pt x="65" y="0"/>
                  </a:cubicBezTo>
                  <a:cubicBezTo>
                    <a:pt x="73" y="0"/>
                    <a:pt x="79" y="1"/>
                    <a:pt x="85" y="2"/>
                  </a:cubicBezTo>
                  <a:cubicBezTo>
                    <a:pt x="91" y="4"/>
                    <a:pt x="97" y="6"/>
                    <a:pt x="103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69" name="Freeform 31"/>
            <p:cNvSpPr>
              <a:spLocks/>
            </p:cNvSpPr>
            <p:nvPr userDrawn="1"/>
          </p:nvSpPr>
          <p:spPr bwMode="auto">
            <a:xfrm>
              <a:off x="7583486" y="3090863"/>
              <a:ext cx="133350" cy="204788"/>
            </a:xfrm>
            <a:custGeom>
              <a:avLst/>
              <a:gdLst>
                <a:gd name="T0" fmla="*/ 31 w 89"/>
                <a:gd name="T1" fmla="*/ 104 h 137"/>
                <a:gd name="T2" fmla="*/ 33 w 89"/>
                <a:gd name="T3" fmla="*/ 110 h 137"/>
                <a:gd name="T4" fmla="*/ 39 w 89"/>
                <a:gd name="T5" fmla="*/ 112 h 137"/>
                <a:gd name="T6" fmla="*/ 83 w 89"/>
                <a:gd name="T7" fmla="*/ 112 h 137"/>
                <a:gd name="T8" fmla="*/ 89 w 89"/>
                <a:gd name="T9" fmla="*/ 117 h 137"/>
                <a:gd name="T10" fmla="*/ 89 w 89"/>
                <a:gd name="T11" fmla="*/ 132 h 137"/>
                <a:gd name="T12" fmla="*/ 83 w 89"/>
                <a:gd name="T13" fmla="*/ 137 h 137"/>
                <a:gd name="T14" fmla="*/ 23 w 89"/>
                <a:gd name="T15" fmla="*/ 137 h 137"/>
                <a:gd name="T16" fmla="*/ 6 w 89"/>
                <a:gd name="T17" fmla="*/ 133 h 137"/>
                <a:gd name="T18" fmla="*/ 0 w 89"/>
                <a:gd name="T19" fmla="*/ 116 h 137"/>
                <a:gd name="T20" fmla="*/ 0 w 89"/>
                <a:gd name="T21" fmla="*/ 6 h 137"/>
                <a:gd name="T22" fmla="*/ 5 w 89"/>
                <a:gd name="T23" fmla="*/ 0 h 137"/>
                <a:gd name="T24" fmla="*/ 84 w 89"/>
                <a:gd name="T25" fmla="*/ 0 h 137"/>
                <a:gd name="T26" fmla="*/ 88 w 89"/>
                <a:gd name="T27" fmla="*/ 1 h 137"/>
                <a:gd name="T28" fmla="*/ 89 w 89"/>
                <a:gd name="T29" fmla="*/ 5 h 137"/>
                <a:gd name="T30" fmla="*/ 87 w 89"/>
                <a:gd name="T31" fmla="*/ 21 h 137"/>
                <a:gd name="T32" fmla="*/ 85 w 89"/>
                <a:gd name="T33" fmla="*/ 25 h 137"/>
                <a:gd name="T34" fmla="*/ 79 w 89"/>
                <a:gd name="T35" fmla="*/ 26 h 137"/>
                <a:gd name="T36" fmla="*/ 31 w 89"/>
                <a:gd name="T37" fmla="*/ 26 h 137"/>
                <a:gd name="T38" fmla="*/ 31 w 89"/>
                <a:gd name="T39" fmla="*/ 55 h 137"/>
                <a:gd name="T40" fmla="*/ 76 w 89"/>
                <a:gd name="T41" fmla="*/ 55 h 137"/>
                <a:gd name="T42" fmla="*/ 81 w 89"/>
                <a:gd name="T43" fmla="*/ 57 h 137"/>
                <a:gd name="T44" fmla="*/ 82 w 89"/>
                <a:gd name="T45" fmla="*/ 61 h 137"/>
                <a:gd name="T46" fmla="*/ 82 w 89"/>
                <a:gd name="T47" fmla="*/ 75 h 137"/>
                <a:gd name="T48" fmla="*/ 77 w 89"/>
                <a:gd name="T49" fmla="*/ 81 h 137"/>
                <a:gd name="T50" fmla="*/ 31 w 89"/>
                <a:gd name="T51" fmla="*/ 81 h 137"/>
                <a:gd name="T52" fmla="*/ 31 w 89"/>
                <a:gd name="T53" fmla="*/ 10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9" h="137">
                  <a:moveTo>
                    <a:pt x="31" y="104"/>
                  </a:moveTo>
                  <a:cubicBezTo>
                    <a:pt x="31" y="107"/>
                    <a:pt x="32" y="109"/>
                    <a:pt x="33" y="110"/>
                  </a:cubicBezTo>
                  <a:cubicBezTo>
                    <a:pt x="34" y="111"/>
                    <a:pt x="36" y="112"/>
                    <a:pt x="39" y="112"/>
                  </a:cubicBezTo>
                  <a:cubicBezTo>
                    <a:pt x="83" y="112"/>
                    <a:pt x="83" y="112"/>
                    <a:pt x="83" y="112"/>
                  </a:cubicBezTo>
                  <a:cubicBezTo>
                    <a:pt x="87" y="112"/>
                    <a:pt x="89" y="114"/>
                    <a:pt x="89" y="117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6"/>
                    <a:pt x="87" y="137"/>
                    <a:pt x="83" y="137"/>
                  </a:cubicBezTo>
                  <a:cubicBezTo>
                    <a:pt x="23" y="137"/>
                    <a:pt x="23" y="137"/>
                    <a:pt x="23" y="137"/>
                  </a:cubicBezTo>
                  <a:cubicBezTo>
                    <a:pt x="15" y="137"/>
                    <a:pt x="10" y="136"/>
                    <a:pt x="6" y="133"/>
                  </a:cubicBezTo>
                  <a:cubicBezTo>
                    <a:pt x="2" y="130"/>
                    <a:pt x="0" y="124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0"/>
                    <a:pt x="87" y="1"/>
                    <a:pt x="88" y="1"/>
                  </a:cubicBezTo>
                  <a:cubicBezTo>
                    <a:pt x="89" y="2"/>
                    <a:pt x="89" y="3"/>
                    <a:pt x="89" y="5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87" y="23"/>
                    <a:pt x="86" y="24"/>
                    <a:pt x="85" y="25"/>
                  </a:cubicBezTo>
                  <a:cubicBezTo>
                    <a:pt x="84" y="25"/>
                    <a:pt x="82" y="26"/>
                    <a:pt x="79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9" y="55"/>
                    <a:pt x="80" y="56"/>
                    <a:pt x="81" y="57"/>
                  </a:cubicBezTo>
                  <a:cubicBezTo>
                    <a:pt x="82" y="58"/>
                    <a:pt x="82" y="59"/>
                    <a:pt x="82" y="61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9"/>
                    <a:pt x="80" y="81"/>
                    <a:pt x="77" y="81"/>
                  </a:cubicBezTo>
                  <a:cubicBezTo>
                    <a:pt x="31" y="81"/>
                    <a:pt x="31" y="81"/>
                    <a:pt x="31" y="81"/>
                  </a:cubicBezTo>
                  <a:lnTo>
                    <a:pt x="31" y="1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70" name="Freeform 32"/>
            <p:cNvSpPr>
              <a:spLocks/>
            </p:cNvSpPr>
            <p:nvPr userDrawn="1"/>
          </p:nvSpPr>
          <p:spPr bwMode="auto">
            <a:xfrm>
              <a:off x="7769223" y="3086101"/>
              <a:ext cx="142875" cy="214313"/>
            </a:xfrm>
            <a:custGeom>
              <a:avLst/>
              <a:gdLst>
                <a:gd name="T0" fmla="*/ 95 w 95"/>
                <a:gd name="T1" fmla="*/ 98 h 143"/>
                <a:gd name="T2" fmla="*/ 91 w 95"/>
                <a:gd name="T3" fmla="*/ 117 h 143"/>
                <a:gd name="T4" fmla="*/ 80 w 95"/>
                <a:gd name="T5" fmla="*/ 131 h 143"/>
                <a:gd name="T6" fmla="*/ 65 w 95"/>
                <a:gd name="T7" fmla="*/ 140 h 143"/>
                <a:gd name="T8" fmla="*/ 45 w 95"/>
                <a:gd name="T9" fmla="*/ 143 h 143"/>
                <a:gd name="T10" fmla="*/ 25 w 95"/>
                <a:gd name="T11" fmla="*/ 141 h 143"/>
                <a:gd name="T12" fmla="*/ 4 w 95"/>
                <a:gd name="T13" fmla="*/ 136 h 143"/>
                <a:gd name="T14" fmla="*/ 0 w 95"/>
                <a:gd name="T15" fmla="*/ 133 h 143"/>
                <a:gd name="T16" fmla="*/ 1 w 95"/>
                <a:gd name="T17" fmla="*/ 128 h 143"/>
                <a:gd name="T18" fmla="*/ 6 w 95"/>
                <a:gd name="T19" fmla="*/ 112 h 143"/>
                <a:gd name="T20" fmla="*/ 7 w 95"/>
                <a:gd name="T21" fmla="*/ 110 h 143"/>
                <a:gd name="T22" fmla="*/ 10 w 95"/>
                <a:gd name="T23" fmla="*/ 109 h 143"/>
                <a:gd name="T24" fmla="*/ 13 w 95"/>
                <a:gd name="T25" fmla="*/ 109 h 143"/>
                <a:gd name="T26" fmla="*/ 29 w 95"/>
                <a:gd name="T27" fmla="*/ 114 h 143"/>
                <a:gd name="T28" fmla="*/ 44 w 95"/>
                <a:gd name="T29" fmla="*/ 116 h 143"/>
                <a:gd name="T30" fmla="*/ 51 w 95"/>
                <a:gd name="T31" fmla="*/ 115 h 143"/>
                <a:gd name="T32" fmla="*/ 57 w 95"/>
                <a:gd name="T33" fmla="*/ 112 h 143"/>
                <a:gd name="T34" fmla="*/ 61 w 95"/>
                <a:gd name="T35" fmla="*/ 108 h 143"/>
                <a:gd name="T36" fmla="*/ 63 w 95"/>
                <a:gd name="T37" fmla="*/ 102 h 143"/>
                <a:gd name="T38" fmla="*/ 59 w 95"/>
                <a:gd name="T39" fmla="*/ 93 h 143"/>
                <a:gd name="T40" fmla="*/ 51 w 95"/>
                <a:gd name="T41" fmla="*/ 88 h 143"/>
                <a:gd name="T42" fmla="*/ 25 w 95"/>
                <a:gd name="T43" fmla="*/ 75 h 143"/>
                <a:gd name="T44" fmla="*/ 7 w 95"/>
                <a:gd name="T45" fmla="*/ 61 h 143"/>
                <a:gd name="T46" fmla="*/ 0 w 95"/>
                <a:gd name="T47" fmla="*/ 40 h 143"/>
                <a:gd name="T48" fmla="*/ 5 w 95"/>
                <a:gd name="T49" fmla="*/ 23 h 143"/>
                <a:gd name="T50" fmla="*/ 16 w 95"/>
                <a:gd name="T51" fmla="*/ 11 h 143"/>
                <a:gd name="T52" fmla="*/ 31 w 95"/>
                <a:gd name="T53" fmla="*/ 3 h 143"/>
                <a:gd name="T54" fmla="*/ 49 w 95"/>
                <a:gd name="T55" fmla="*/ 0 h 143"/>
                <a:gd name="T56" fmla="*/ 69 w 95"/>
                <a:gd name="T57" fmla="*/ 2 h 143"/>
                <a:gd name="T58" fmla="*/ 88 w 95"/>
                <a:gd name="T59" fmla="*/ 8 h 143"/>
                <a:gd name="T60" fmla="*/ 91 w 95"/>
                <a:gd name="T61" fmla="*/ 11 h 143"/>
                <a:gd name="T62" fmla="*/ 91 w 95"/>
                <a:gd name="T63" fmla="*/ 16 h 143"/>
                <a:gd name="T64" fmla="*/ 85 w 95"/>
                <a:gd name="T65" fmla="*/ 31 h 143"/>
                <a:gd name="T66" fmla="*/ 82 w 95"/>
                <a:gd name="T67" fmla="*/ 34 h 143"/>
                <a:gd name="T68" fmla="*/ 78 w 95"/>
                <a:gd name="T69" fmla="*/ 34 h 143"/>
                <a:gd name="T70" fmla="*/ 51 w 95"/>
                <a:gd name="T71" fmla="*/ 27 h 143"/>
                <a:gd name="T72" fmla="*/ 45 w 95"/>
                <a:gd name="T73" fmla="*/ 28 h 143"/>
                <a:gd name="T74" fmla="*/ 39 w 95"/>
                <a:gd name="T75" fmla="*/ 30 h 143"/>
                <a:gd name="T76" fmla="*/ 35 w 95"/>
                <a:gd name="T77" fmla="*/ 34 h 143"/>
                <a:gd name="T78" fmla="*/ 34 w 95"/>
                <a:gd name="T79" fmla="*/ 40 h 143"/>
                <a:gd name="T80" fmla="*/ 35 w 95"/>
                <a:gd name="T81" fmla="*/ 44 h 143"/>
                <a:gd name="T82" fmla="*/ 38 w 95"/>
                <a:gd name="T83" fmla="*/ 47 h 143"/>
                <a:gd name="T84" fmla="*/ 43 w 95"/>
                <a:gd name="T85" fmla="*/ 50 h 143"/>
                <a:gd name="T86" fmla="*/ 47 w 95"/>
                <a:gd name="T87" fmla="*/ 52 h 143"/>
                <a:gd name="T88" fmla="*/ 69 w 95"/>
                <a:gd name="T89" fmla="*/ 62 h 143"/>
                <a:gd name="T90" fmla="*/ 88 w 95"/>
                <a:gd name="T91" fmla="*/ 76 h 143"/>
                <a:gd name="T92" fmla="*/ 95 w 95"/>
                <a:gd name="T93" fmla="*/ 9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43">
                  <a:moveTo>
                    <a:pt x="95" y="98"/>
                  </a:moveTo>
                  <a:cubicBezTo>
                    <a:pt x="95" y="105"/>
                    <a:pt x="94" y="112"/>
                    <a:pt x="91" y="117"/>
                  </a:cubicBezTo>
                  <a:cubicBezTo>
                    <a:pt x="89" y="123"/>
                    <a:pt x="85" y="127"/>
                    <a:pt x="80" y="131"/>
                  </a:cubicBezTo>
                  <a:cubicBezTo>
                    <a:pt x="76" y="135"/>
                    <a:pt x="71" y="138"/>
                    <a:pt x="65" y="140"/>
                  </a:cubicBezTo>
                  <a:cubicBezTo>
                    <a:pt x="58" y="142"/>
                    <a:pt x="52" y="143"/>
                    <a:pt x="45" y="143"/>
                  </a:cubicBezTo>
                  <a:cubicBezTo>
                    <a:pt x="39" y="143"/>
                    <a:pt x="32" y="142"/>
                    <a:pt x="25" y="141"/>
                  </a:cubicBezTo>
                  <a:cubicBezTo>
                    <a:pt x="17" y="140"/>
                    <a:pt x="10" y="138"/>
                    <a:pt x="4" y="136"/>
                  </a:cubicBezTo>
                  <a:cubicBezTo>
                    <a:pt x="2" y="135"/>
                    <a:pt x="1" y="134"/>
                    <a:pt x="0" y="133"/>
                  </a:cubicBezTo>
                  <a:cubicBezTo>
                    <a:pt x="0" y="132"/>
                    <a:pt x="0" y="131"/>
                    <a:pt x="1" y="128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1"/>
                    <a:pt x="7" y="110"/>
                    <a:pt x="7" y="110"/>
                  </a:cubicBezTo>
                  <a:cubicBezTo>
                    <a:pt x="8" y="109"/>
                    <a:pt x="9" y="109"/>
                    <a:pt x="10" y="109"/>
                  </a:cubicBezTo>
                  <a:cubicBezTo>
                    <a:pt x="11" y="109"/>
                    <a:pt x="12" y="109"/>
                    <a:pt x="13" y="109"/>
                  </a:cubicBezTo>
                  <a:cubicBezTo>
                    <a:pt x="18" y="111"/>
                    <a:pt x="23" y="113"/>
                    <a:pt x="29" y="114"/>
                  </a:cubicBezTo>
                  <a:cubicBezTo>
                    <a:pt x="34" y="115"/>
                    <a:pt x="39" y="116"/>
                    <a:pt x="44" y="116"/>
                  </a:cubicBezTo>
                  <a:cubicBezTo>
                    <a:pt x="46" y="116"/>
                    <a:pt x="49" y="115"/>
                    <a:pt x="51" y="115"/>
                  </a:cubicBezTo>
                  <a:cubicBezTo>
                    <a:pt x="53" y="114"/>
                    <a:pt x="55" y="113"/>
                    <a:pt x="57" y="112"/>
                  </a:cubicBezTo>
                  <a:cubicBezTo>
                    <a:pt x="59" y="111"/>
                    <a:pt x="60" y="110"/>
                    <a:pt x="61" y="108"/>
                  </a:cubicBezTo>
                  <a:cubicBezTo>
                    <a:pt x="63" y="106"/>
                    <a:pt x="63" y="104"/>
                    <a:pt x="63" y="102"/>
                  </a:cubicBezTo>
                  <a:cubicBezTo>
                    <a:pt x="63" y="98"/>
                    <a:pt x="62" y="95"/>
                    <a:pt x="59" y="93"/>
                  </a:cubicBezTo>
                  <a:cubicBezTo>
                    <a:pt x="57" y="91"/>
                    <a:pt x="54" y="89"/>
                    <a:pt x="51" y="88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17" y="72"/>
                    <a:pt x="11" y="67"/>
                    <a:pt x="7" y="61"/>
                  </a:cubicBezTo>
                  <a:cubicBezTo>
                    <a:pt x="2" y="55"/>
                    <a:pt x="0" y="48"/>
                    <a:pt x="0" y="40"/>
                  </a:cubicBezTo>
                  <a:cubicBezTo>
                    <a:pt x="0" y="33"/>
                    <a:pt x="2" y="28"/>
                    <a:pt x="5" y="23"/>
                  </a:cubicBezTo>
                  <a:cubicBezTo>
                    <a:pt x="7" y="18"/>
                    <a:pt x="11" y="14"/>
                    <a:pt x="16" y="11"/>
                  </a:cubicBezTo>
                  <a:cubicBezTo>
                    <a:pt x="20" y="7"/>
                    <a:pt x="26" y="5"/>
                    <a:pt x="31" y="3"/>
                  </a:cubicBezTo>
                  <a:cubicBezTo>
                    <a:pt x="37" y="1"/>
                    <a:pt x="43" y="0"/>
                    <a:pt x="49" y="0"/>
                  </a:cubicBezTo>
                  <a:cubicBezTo>
                    <a:pt x="56" y="0"/>
                    <a:pt x="63" y="1"/>
                    <a:pt x="69" y="2"/>
                  </a:cubicBezTo>
                  <a:cubicBezTo>
                    <a:pt x="75" y="4"/>
                    <a:pt x="81" y="6"/>
                    <a:pt x="88" y="8"/>
                  </a:cubicBezTo>
                  <a:cubicBezTo>
                    <a:pt x="90" y="9"/>
                    <a:pt x="91" y="10"/>
                    <a:pt x="91" y="11"/>
                  </a:cubicBezTo>
                  <a:cubicBezTo>
                    <a:pt x="92" y="12"/>
                    <a:pt x="92" y="14"/>
                    <a:pt x="91" y="16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4" y="33"/>
                    <a:pt x="84" y="34"/>
                    <a:pt x="82" y="34"/>
                  </a:cubicBezTo>
                  <a:cubicBezTo>
                    <a:pt x="81" y="35"/>
                    <a:pt x="80" y="34"/>
                    <a:pt x="78" y="34"/>
                  </a:cubicBezTo>
                  <a:cubicBezTo>
                    <a:pt x="67" y="29"/>
                    <a:pt x="58" y="27"/>
                    <a:pt x="51" y="27"/>
                  </a:cubicBezTo>
                  <a:cubicBezTo>
                    <a:pt x="49" y="27"/>
                    <a:pt x="47" y="28"/>
                    <a:pt x="45" y="28"/>
                  </a:cubicBezTo>
                  <a:cubicBezTo>
                    <a:pt x="43" y="28"/>
                    <a:pt x="41" y="29"/>
                    <a:pt x="39" y="30"/>
                  </a:cubicBezTo>
                  <a:cubicBezTo>
                    <a:pt x="38" y="31"/>
                    <a:pt x="36" y="32"/>
                    <a:pt x="35" y="34"/>
                  </a:cubicBezTo>
                  <a:cubicBezTo>
                    <a:pt x="34" y="35"/>
                    <a:pt x="34" y="37"/>
                    <a:pt x="34" y="40"/>
                  </a:cubicBezTo>
                  <a:cubicBezTo>
                    <a:pt x="34" y="41"/>
                    <a:pt x="34" y="43"/>
                    <a:pt x="35" y="44"/>
                  </a:cubicBezTo>
                  <a:cubicBezTo>
                    <a:pt x="36" y="45"/>
                    <a:pt x="37" y="46"/>
                    <a:pt x="38" y="47"/>
                  </a:cubicBezTo>
                  <a:cubicBezTo>
                    <a:pt x="40" y="48"/>
                    <a:pt x="41" y="49"/>
                    <a:pt x="43" y="50"/>
                  </a:cubicBezTo>
                  <a:cubicBezTo>
                    <a:pt x="44" y="51"/>
                    <a:pt x="46" y="52"/>
                    <a:pt x="47" y="5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77" y="66"/>
                    <a:pt x="83" y="71"/>
                    <a:pt x="88" y="76"/>
                  </a:cubicBezTo>
                  <a:cubicBezTo>
                    <a:pt x="93" y="82"/>
                    <a:pt x="95" y="89"/>
                    <a:pt x="95" y="9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71" name="Freeform 33"/>
            <p:cNvSpPr>
              <a:spLocks/>
            </p:cNvSpPr>
            <p:nvPr userDrawn="1"/>
          </p:nvSpPr>
          <p:spPr bwMode="auto">
            <a:xfrm>
              <a:off x="7964486" y="3086101"/>
              <a:ext cx="142875" cy="214313"/>
            </a:xfrm>
            <a:custGeom>
              <a:avLst/>
              <a:gdLst>
                <a:gd name="T0" fmla="*/ 95 w 95"/>
                <a:gd name="T1" fmla="*/ 98 h 143"/>
                <a:gd name="T2" fmla="*/ 91 w 95"/>
                <a:gd name="T3" fmla="*/ 117 h 143"/>
                <a:gd name="T4" fmla="*/ 80 w 95"/>
                <a:gd name="T5" fmla="*/ 131 h 143"/>
                <a:gd name="T6" fmla="*/ 65 w 95"/>
                <a:gd name="T7" fmla="*/ 140 h 143"/>
                <a:gd name="T8" fmla="*/ 45 w 95"/>
                <a:gd name="T9" fmla="*/ 143 h 143"/>
                <a:gd name="T10" fmla="*/ 25 w 95"/>
                <a:gd name="T11" fmla="*/ 141 h 143"/>
                <a:gd name="T12" fmla="*/ 4 w 95"/>
                <a:gd name="T13" fmla="*/ 136 h 143"/>
                <a:gd name="T14" fmla="*/ 0 w 95"/>
                <a:gd name="T15" fmla="*/ 133 h 143"/>
                <a:gd name="T16" fmla="*/ 1 w 95"/>
                <a:gd name="T17" fmla="*/ 128 h 143"/>
                <a:gd name="T18" fmla="*/ 6 w 95"/>
                <a:gd name="T19" fmla="*/ 112 h 143"/>
                <a:gd name="T20" fmla="*/ 7 w 95"/>
                <a:gd name="T21" fmla="*/ 110 h 143"/>
                <a:gd name="T22" fmla="*/ 10 w 95"/>
                <a:gd name="T23" fmla="*/ 109 h 143"/>
                <a:gd name="T24" fmla="*/ 13 w 95"/>
                <a:gd name="T25" fmla="*/ 109 h 143"/>
                <a:gd name="T26" fmla="*/ 29 w 95"/>
                <a:gd name="T27" fmla="*/ 114 h 143"/>
                <a:gd name="T28" fmla="*/ 44 w 95"/>
                <a:gd name="T29" fmla="*/ 116 h 143"/>
                <a:gd name="T30" fmla="*/ 51 w 95"/>
                <a:gd name="T31" fmla="*/ 115 h 143"/>
                <a:gd name="T32" fmla="*/ 57 w 95"/>
                <a:gd name="T33" fmla="*/ 112 h 143"/>
                <a:gd name="T34" fmla="*/ 61 w 95"/>
                <a:gd name="T35" fmla="*/ 108 h 143"/>
                <a:gd name="T36" fmla="*/ 63 w 95"/>
                <a:gd name="T37" fmla="*/ 102 h 143"/>
                <a:gd name="T38" fmla="*/ 59 w 95"/>
                <a:gd name="T39" fmla="*/ 93 h 143"/>
                <a:gd name="T40" fmla="*/ 51 w 95"/>
                <a:gd name="T41" fmla="*/ 88 h 143"/>
                <a:gd name="T42" fmla="*/ 25 w 95"/>
                <a:gd name="T43" fmla="*/ 75 h 143"/>
                <a:gd name="T44" fmla="*/ 7 w 95"/>
                <a:gd name="T45" fmla="*/ 61 h 143"/>
                <a:gd name="T46" fmla="*/ 0 w 95"/>
                <a:gd name="T47" fmla="*/ 40 h 143"/>
                <a:gd name="T48" fmla="*/ 5 w 95"/>
                <a:gd name="T49" fmla="*/ 23 h 143"/>
                <a:gd name="T50" fmla="*/ 16 w 95"/>
                <a:gd name="T51" fmla="*/ 11 h 143"/>
                <a:gd name="T52" fmla="*/ 31 w 95"/>
                <a:gd name="T53" fmla="*/ 3 h 143"/>
                <a:gd name="T54" fmla="*/ 49 w 95"/>
                <a:gd name="T55" fmla="*/ 0 h 143"/>
                <a:gd name="T56" fmla="*/ 69 w 95"/>
                <a:gd name="T57" fmla="*/ 2 h 143"/>
                <a:gd name="T58" fmla="*/ 88 w 95"/>
                <a:gd name="T59" fmla="*/ 8 h 143"/>
                <a:gd name="T60" fmla="*/ 91 w 95"/>
                <a:gd name="T61" fmla="*/ 11 h 143"/>
                <a:gd name="T62" fmla="*/ 91 w 95"/>
                <a:gd name="T63" fmla="*/ 16 h 143"/>
                <a:gd name="T64" fmla="*/ 85 w 95"/>
                <a:gd name="T65" fmla="*/ 31 h 143"/>
                <a:gd name="T66" fmla="*/ 82 w 95"/>
                <a:gd name="T67" fmla="*/ 34 h 143"/>
                <a:gd name="T68" fmla="*/ 78 w 95"/>
                <a:gd name="T69" fmla="*/ 34 h 143"/>
                <a:gd name="T70" fmla="*/ 51 w 95"/>
                <a:gd name="T71" fmla="*/ 27 h 143"/>
                <a:gd name="T72" fmla="*/ 45 w 95"/>
                <a:gd name="T73" fmla="*/ 28 h 143"/>
                <a:gd name="T74" fmla="*/ 39 w 95"/>
                <a:gd name="T75" fmla="*/ 30 h 143"/>
                <a:gd name="T76" fmla="*/ 35 w 95"/>
                <a:gd name="T77" fmla="*/ 34 h 143"/>
                <a:gd name="T78" fmla="*/ 34 w 95"/>
                <a:gd name="T79" fmla="*/ 40 h 143"/>
                <a:gd name="T80" fmla="*/ 35 w 95"/>
                <a:gd name="T81" fmla="*/ 44 h 143"/>
                <a:gd name="T82" fmla="*/ 38 w 95"/>
                <a:gd name="T83" fmla="*/ 47 h 143"/>
                <a:gd name="T84" fmla="*/ 43 w 95"/>
                <a:gd name="T85" fmla="*/ 50 h 143"/>
                <a:gd name="T86" fmla="*/ 47 w 95"/>
                <a:gd name="T87" fmla="*/ 52 h 143"/>
                <a:gd name="T88" fmla="*/ 69 w 95"/>
                <a:gd name="T89" fmla="*/ 62 h 143"/>
                <a:gd name="T90" fmla="*/ 88 w 95"/>
                <a:gd name="T91" fmla="*/ 76 h 143"/>
                <a:gd name="T92" fmla="*/ 95 w 95"/>
                <a:gd name="T93" fmla="*/ 9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43">
                  <a:moveTo>
                    <a:pt x="95" y="98"/>
                  </a:moveTo>
                  <a:cubicBezTo>
                    <a:pt x="95" y="105"/>
                    <a:pt x="94" y="112"/>
                    <a:pt x="91" y="117"/>
                  </a:cubicBezTo>
                  <a:cubicBezTo>
                    <a:pt x="89" y="123"/>
                    <a:pt x="85" y="127"/>
                    <a:pt x="80" y="131"/>
                  </a:cubicBezTo>
                  <a:cubicBezTo>
                    <a:pt x="76" y="135"/>
                    <a:pt x="71" y="138"/>
                    <a:pt x="65" y="140"/>
                  </a:cubicBezTo>
                  <a:cubicBezTo>
                    <a:pt x="58" y="142"/>
                    <a:pt x="52" y="143"/>
                    <a:pt x="45" y="143"/>
                  </a:cubicBezTo>
                  <a:cubicBezTo>
                    <a:pt x="39" y="143"/>
                    <a:pt x="32" y="142"/>
                    <a:pt x="25" y="141"/>
                  </a:cubicBezTo>
                  <a:cubicBezTo>
                    <a:pt x="17" y="140"/>
                    <a:pt x="10" y="138"/>
                    <a:pt x="4" y="136"/>
                  </a:cubicBezTo>
                  <a:cubicBezTo>
                    <a:pt x="2" y="135"/>
                    <a:pt x="1" y="134"/>
                    <a:pt x="0" y="133"/>
                  </a:cubicBezTo>
                  <a:cubicBezTo>
                    <a:pt x="0" y="132"/>
                    <a:pt x="0" y="131"/>
                    <a:pt x="1" y="128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1"/>
                    <a:pt x="7" y="110"/>
                    <a:pt x="7" y="110"/>
                  </a:cubicBezTo>
                  <a:cubicBezTo>
                    <a:pt x="8" y="109"/>
                    <a:pt x="9" y="109"/>
                    <a:pt x="10" y="109"/>
                  </a:cubicBezTo>
                  <a:cubicBezTo>
                    <a:pt x="11" y="109"/>
                    <a:pt x="12" y="109"/>
                    <a:pt x="13" y="109"/>
                  </a:cubicBezTo>
                  <a:cubicBezTo>
                    <a:pt x="18" y="111"/>
                    <a:pt x="23" y="113"/>
                    <a:pt x="29" y="114"/>
                  </a:cubicBezTo>
                  <a:cubicBezTo>
                    <a:pt x="34" y="115"/>
                    <a:pt x="39" y="116"/>
                    <a:pt x="44" y="116"/>
                  </a:cubicBezTo>
                  <a:cubicBezTo>
                    <a:pt x="46" y="116"/>
                    <a:pt x="49" y="115"/>
                    <a:pt x="51" y="115"/>
                  </a:cubicBezTo>
                  <a:cubicBezTo>
                    <a:pt x="53" y="114"/>
                    <a:pt x="55" y="113"/>
                    <a:pt x="57" y="112"/>
                  </a:cubicBezTo>
                  <a:cubicBezTo>
                    <a:pt x="59" y="111"/>
                    <a:pt x="60" y="110"/>
                    <a:pt x="61" y="108"/>
                  </a:cubicBezTo>
                  <a:cubicBezTo>
                    <a:pt x="63" y="106"/>
                    <a:pt x="63" y="104"/>
                    <a:pt x="63" y="102"/>
                  </a:cubicBezTo>
                  <a:cubicBezTo>
                    <a:pt x="63" y="98"/>
                    <a:pt x="62" y="95"/>
                    <a:pt x="59" y="93"/>
                  </a:cubicBezTo>
                  <a:cubicBezTo>
                    <a:pt x="57" y="91"/>
                    <a:pt x="54" y="89"/>
                    <a:pt x="51" y="88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17" y="72"/>
                    <a:pt x="11" y="67"/>
                    <a:pt x="7" y="61"/>
                  </a:cubicBezTo>
                  <a:cubicBezTo>
                    <a:pt x="2" y="55"/>
                    <a:pt x="0" y="48"/>
                    <a:pt x="0" y="40"/>
                  </a:cubicBezTo>
                  <a:cubicBezTo>
                    <a:pt x="0" y="33"/>
                    <a:pt x="2" y="28"/>
                    <a:pt x="5" y="23"/>
                  </a:cubicBezTo>
                  <a:cubicBezTo>
                    <a:pt x="7" y="18"/>
                    <a:pt x="11" y="14"/>
                    <a:pt x="16" y="11"/>
                  </a:cubicBezTo>
                  <a:cubicBezTo>
                    <a:pt x="20" y="7"/>
                    <a:pt x="26" y="5"/>
                    <a:pt x="31" y="3"/>
                  </a:cubicBezTo>
                  <a:cubicBezTo>
                    <a:pt x="37" y="1"/>
                    <a:pt x="43" y="0"/>
                    <a:pt x="49" y="0"/>
                  </a:cubicBezTo>
                  <a:cubicBezTo>
                    <a:pt x="56" y="0"/>
                    <a:pt x="63" y="1"/>
                    <a:pt x="69" y="2"/>
                  </a:cubicBezTo>
                  <a:cubicBezTo>
                    <a:pt x="75" y="4"/>
                    <a:pt x="81" y="6"/>
                    <a:pt x="88" y="8"/>
                  </a:cubicBezTo>
                  <a:cubicBezTo>
                    <a:pt x="90" y="9"/>
                    <a:pt x="91" y="10"/>
                    <a:pt x="91" y="11"/>
                  </a:cubicBezTo>
                  <a:cubicBezTo>
                    <a:pt x="92" y="12"/>
                    <a:pt x="92" y="14"/>
                    <a:pt x="91" y="16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4" y="33"/>
                    <a:pt x="84" y="34"/>
                    <a:pt x="82" y="34"/>
                  </a:cubicBezTo>
                  <a:cubicBezTo>
                    <a:pt x="81" y="35"/>
                    <a:pt x="80" y="34"/>
                    <a:pt x="78" y="34"/>
                  </a:cubicBezTo>
                  <a:cubicBezTo>
                    <a:pt x="67" y="29"/>
                    <a:pt x="58" y="27"/>
                    <a:pt x="51" y="27"/>
                  </a:cubicBezTo>
                  <a:cubicBezTo>
                    <a:pt x="49" y="27"/>
                    <a:pt x="47" y="28"/>
                    <a:pt x="45" y="28"/>
                  </a:cubicBezTo>
                  <a:cubicBezTo>
                    <a:pt x="43" y="28"/>
                    <a:pt x="41" y="29"/>
                    <a:pt x="39" y="30"/>
                  </a:cubicBezTo>
                  <a:cubicBezTo>
                    <a:pt x="38" y="31"/>
                    <a:pt x="36" y="32"/>
                    <a:pt x="35" y="34"/>
                  </a:cubicBezTo>
                  <a:cubicBezTo>
                    <a:pt x="34" y="35"/>
                    <a:pt x="34" y="37"/>
                    <a:pt x="34" y="40"/>
                  </a:cubicBezTo>
                  <a:cubicBezTo>
                    <a:pt x="34" y="41"/>
                    <a:pt x="34" y="43"/>
                    <a:pt x="35" y="44"/>
                  </a:cubicBezTo>
                  <a:cubicBezTo>
                    <a:pt x="36" y="45"/>
                    <a:pt x="37" y="46"/>
                    <a:pt x="38" y="47"/>
                  </a:cubicBezTo>
                  <a:cubicBezTo>
                    <a:pt x="40" y="48"/>
                    <a:pt x="41" y="49"/>
                    <a:pt x="43" y="50"/>
                  </a:cubicBezTo>
                  <a:cubicBezTo>
                    <a:pt x="44" y="51"/>
                    <a:pt x="46" y="52"/>
                    <a:pt x="47" y="5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77" y="66"/>
                    <a:pt x="83" y="71"/>
                    <a:pt x="88" y="76"/>
                  </a:cubicBezTo>
                  <a:cubicBezTo>
                    <a:pt x="93" y="82"/>
                    <a:pt x="95" y="89"/>
                    <a:pt x="95" y="9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72" name="Freeform 34"/>
            <p:cNvSpPr>
              <a:spLocks/>
            </p:cNvSpPr>
            <p:nvPr userDrawn="1"/>
          </p:nvSpPr>
          <p:spPr bwMode="auto">
            <a:xfrm>
              <a:off x="6727824" y="322263"/>
              <a:ext cx="301625" cy="295275"/>
            </a:xfrm>
            <a:custGeom>
              <a:avLst/>
              <a:gdLst>
                <a:gd name="T0" fmla="*/ 190 w 190"/>
                <a:gd name="T1" fmla="*/ 0 h 186"/>
                <a:gd name="T2" fmla="*/ 45 w 190"/>
                <a:gd name="T3" fmla="*/ 0 h 186"/>
                <a:gd name="T4" fmla="*/ 3 w 190"/>
                <a:gd name="T5" fmla="*/ 0 h 186"/>
                <a:gd name="T6" fmla="*/ 0 w 190"/>
                <a:gd name="T7" fmla="*/ 0 h 186"/>
                <a:gd name="T8" fmla="*/ 0 w 190"/>
                <a:gd name="T9" fmla="*/ 186 h 186"/>
                <a:gd name="T10" fmla="*/ 45 w 190"/>
                <a:gd name="T11" fmla="*/ 186 h 186"/>
                <a:gd name="T12" fmla="*/ 45 w 190"/>
                <a:gd name="T13" fmla="*/ 44 h 186"/>
                <a:gd name="T14" fmla="*/ 190 w 190"/>
                <a:gd name="T15" fmla="*/ 44 h 186"/>
                <a:gd name="T16" fmla="*/ 190 w 190"/>
                <a:gd name="T1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186">
                  <a:moveTo>
                    <a:pt x="190" y="0"/>
                  </a:moveTo>
                  <a:lnTo>
                    <a:pt x="4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86"/>
                  </a:lnTo>
                  <a:lnTo>
                    <a:pt x="45" y="186"/>
                  </a:lnTo>
                  <a:lnTo>
                    <a:pt x="45" y="44"/>
                  </a:lnTo>
                  <a:lnTo>
                    <a:pt x="190" y="44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30999" y="1352551"/>
              <a:ext cx="296862" cy="301625"/>
            </a:xfrm>
            <a:custGeom>
              <a:avLst/>
              <a:gdLst>
                <a:gd name="T0" fmla="*/ 0 w 187"/>
                <a:gd name="T1" fmla="*/ 0 h 190"/>
                <a:gd name="T2" fmla="*/ 0 w 187"/>
                <a:gd name="T3" fmla="*/ 145 h 190"/>
                <a:gd name="T4" fmla="*/ 0 w 187"/>
                <a:gd name="T5" fmla="*/ 187 h 190"/>
                <a:gd name="T6" fmla="*/ 0 w 187"/>
                <a:gd name="T7" fmla="*/ 190 h 190"/>
                <a:gd name="T8" fmla="*/ 187 w 187"/>
                <a:gd name="T9" fmla="*/ 190 h 190"/>
                <a:gd name="T10" fmla="*/ 187 w 187"/>
                <a:gd name="T11" fmla="*/ 145 h 190"/>
                <a:gd name="T12" fmla="*/ 44 w 187"/>
                <a:gd name="T13" fmla="*/ 145 h 190"/>
                <a:gd name="T14" fmla="*/ 44 w 187"/>
                <a:gd name="T15" fmla="*/ 0 h 190"/>
                <a:gd name="T16" fmla="*/ 0 w 187"/>
                <a:gd name="T17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190">
                  <a:moveTo>
                    <a:pt x="0" y="0"/>
                  </a:moveTo>
                  <a:lnTo>
                    <a:pt x="0" y="145"/>
                  </a:lnTo>
                  <a:lnTo>
                    <a:pt x="0" y="187"/>
                  </a:lnTo>
                  <a:lnTo>
                    <a:pt x="0" y="190"/>
                  </a:lnTo>
                  <a:lnTo>
                    <a:pt x="187" y="190"/>
                  </a:lnTo>
                  <a:lnTo>
                    <a:pt x="187" y="145"/>
                  </a:lnTo>
                  <a:lnTo>
                    <a:pt x="44" y="145"/>
                  </a:lnTo>
                  <a:lnTo>
                    <a:pt x="4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7769223" y="1357313"/>
              <a:ext cx="301625" cy="296863"/>
            </a:xfrm>
            <a:custGeom>
              <a:avLst/>
              <a:gdLst>
                <a:gd name="T0" fmla="*/ 0 w 190"/>
                <a:gd name="T1" fmla="*/ 187 h 187"/>
                <a:gd name="T2" fmla="*/ 145 w 190"/>
                <a:gd name="T3" fmla="*/ 187 h 187"/>
                <a:gd name="T4" fmla="*/ 187 w 190"/>
                <a:gd name="T5" fmla="*/ 187 h 187"/>
                <a:gd name="T6" fmla="*/ 190 w 190"/>
                <a:gd name="T7" fmla="*/ 187 h 187"/>
                <a:gd name="T8" fmla="*/ 190 w 190"/>
                <a:gd name="T9" fmla="*/ 0 h 187"/>
                <a:gd name="T10" fmla="*/ 145 w 190"/>
                <a:gd name="T11" fmla="*/ 0 h 187"/>
                <a:gd name="T12" fmla="*/ 145 w 190"/>
                <a:gd name="T13" fmla="*/ 142 h 187"/>
                <a:gd name="T14" fmla="*/ 0 w 190"/>
                <a:gd name="T15" fmla="*/ 142 h 187"/>
                <a:gd name="T16" fmla="*/ 0 w 190"/>
                <a:gd name="T17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187">
                  <a:moveTo>
                    <a:pt x="0" y="187"/>
                  </a:moveTo>
                  <a:lnTo>
                    <a:pt x="145" y="187"/>
                  </a:lnTo>
                  <a:lnTo>
                    <a:pt x="187" y="187"/>
                  </a:lnTo>
                  <a:lnTo>
                    <a:pt x="190" y="187"/>
                  </a:lnTo>
                  <a:lnTo>
                    <a:pt x="190" y="0"/>
                  </a:lnTo>
                  <a:lnTo>
                    <a:pt x="145" y="0"/>
                  </a:lnTo>
                  <a:lnTo>
                    <a:pt x="145" y="142"/>
                  </a:lnTo>
                  <a:lnTo>
                    <a:pt x="0" y="142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772398" y="322263"/>
              <a:ext cx="295275" cy="300038"/>
            </a:xfrm>
            <a:custGeom>
              <a:avLst/>
              <a:gdLst>
                <a:gd name="T0" fmla="*/ 186 w 186"/>
                <a:gd name="T1" fmla="*/ 189 h 189"/>
                <a:gd name="T2" fmla="*/ 186 w 186"/>
                <a:gd name="T3" fmla="*/ 44 h 189"/>
                <a:gd name="T4" fmla="*/ 186 w 186"/>
                <a:gd name="T5" fmla="*/ 3 h 189"/>
                <a:gd name="T6" fmla="*/ 186 w 186"/>
                <a:gd name="T7" fmla="*/ 0 h 189"/>
                <a:gd name="T8" fmla="*/ 0 w 186"/>
                <a:gd name="T9" fmla="*/ 0 h 189"/>
                <a:gd name="T10" fmla="*/ 0 w 186"/>
                <a:gd name="T11" fmla="*/ 44 h 189"/>
                <a:gd name="T12" fmla="*/ 142 w 186"/>
                <a:gd name="T13" fmla="*/ 44 h 189"/>
                <a:gd name="T14" fmla="*/ 142 w 186"/>
                <a:gd name="T15" fmla="*/ 189 h 189"/>
                <a:gd name="T16" fmla="*/ 186 w 186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89">
                  <a:moveTo>
                    <a:pt x="186" y="189"/>
                  </a:moveTo>
                  <a:lnTo>
                    <a:pt x="186" y="44"/>
                  </a:lnTo>
                  <a:lnTo>
                    <a:pt x="186" y="3"/>
                  </a:lnTo>
                  <a:lnTo>
                    <a:pt x="186" y="0"/>
                  </a:lnTo>
                  <a:lnTo>
                    <a:pt x="0" y="0"/>
                  </a:lnTo>
                  <a:lnTo>
                    <a:pt x="0" y="44"/>
                  </a:lnTo>
                  <a:lnTo>
                    <a:pt x="142" y="44"/>
                  </a:lnTo>
                  <a:lnTo>
                    <a:pt x="142" y="189"/>
                  </a:lnTo>
                  <a:lnTo>
                    <a:pt x="186" y="1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404040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718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523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546853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D14160-4636-40AA-A77F-69E8F817E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446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2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D14160-4636-40AA-A77F-69E8F817E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D394A6-BBF8-4D29-BA55-1277C155E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B3A7F-6137-4581-8B06-CBBDD9DC9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71440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42B127-85B9-4FDC-8FC6-1FA137D335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56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42B127-85B9-4FDC-8FC6-1FA137D335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4963" y="1089025"/>
            <a:ext cx="11522075" cy="5040142"/>
          </a:xfrm>
          <a:prstGeom prst="rect">
            <a:avLst/>
          </a:prstGeom>
        </p:spPr>
        <p:txBody>
          <a:bodyPr/>
          <a:lstStyle>
            <a:lvl1pPr marL="323850" indent="-323850">
              <a:lnSpc>
                <a:spcPct val="100000"/>
              </a:lnSpc>
              <a:spcBef>
                <a:spcPts val="300"/>
              </a:spcBef>
              <a:buSzPct val="110000"/>
              <a:buFont typeface="HEINEKEN Core" panose="02000503050000020004" pitchFamily="2" charset="0"/>
              <a:buChar char="•"/>
              <a:defRPr sz="1800">
                <a:solidFill>
                  <a:srgbClr val="000000"/>
                </a:solidFill>
                <a:latin typeface="+mn-lt"/>
              </a:defRPr>
            </a:lvl1pPr>
            <a:lvl2pPr marL="647700" indent="-323850">
              <a:lnSpc>
                <a:spcPct val="100000"/>
              </a:lnSpc>
              <a:spcBef>
                <a:spcPts val="300"/>
              </a:spcBef>
              <a:buSzPct val="11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+mn-lt"/>
              </a:defRPr>
            </a:lvl2pPr>
            <a:lvl3pPr marL="971550" indent="-323850">
              <a:lnSpc>
                <a:spcPct val="100000"/>
              </a:lnSpc>
              <a:spcBef>
                <a:spcPts val="300"/>
              </a:spcBef>
              <a:buSzPct val="110000"/>
              <a:buFont typeface="HEINEKEN Core" panose="02000503050000020004" pitchFamily="2" charset="0"/>
              <a:buChar char="-"/>
              <a:defRPr sz="1400">
                <a:solidFill>
                  <a:srgbClr val="000000"/>
                </a:solidFill>
                <a:latin typeface="+mn-lt"/>
              </a:defRPr>
            </a:lvl3pPr>
            <a:lvl4pPr>
              <a:defRPr sz="1400">
                <a:solidFill>
                  <a:schemeClr val="tx2"/>
                </a:solidFill>
                <a:latin typeface="HEINEKEN Core" panose="02000503050000020004" pitchFamily="2" charset="0"/>
              </a:defRPr>
            </a:lvl4pPr>
            <a:lvl5pPr>
              <a:defRPr sz="1400">
                <a:solidFill>
                  <a:schemeClr val="tx2"/>
                </a:solidFill>
                <a:latin typeface="HEINEKEN Core" panose="02000503050000020004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63609" y="6314638"/>
            <a:ext cx="393641" cy="360362"/>
          </a:xfrm>
        </p:spPr>
        <p:txBody>
          <a:bodyPr anchor="t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fld id="{CE900C22-FC28-4008-B6B9-65F9E018BB6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/>
          <p:cNvSpPr/>
          <p:nvPr/>
        </p:nvSpPr>
        <p:spPr bwMode="auto">
          <a:xfrm>
            <a:off x="0" y="6775373"/>
            <a:ext cx="12192000" cy="82627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400" b="1">
              <a:solidFill>
                <a:schemeClr val="bg1"/>
              </a:solidFill>
              <a:latin typeface="HEINEKEN Core" panose="02000503050000020004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4963" y="188914"/>
            <a:ext cx="11522075" cy="792162"/>
          </a:xfrm>
          <a:prstGeom prst="rect">
            <a:avLst/>
          </a:prstGeom>
        </p:spPr>
        <p:txBody>
          <a:bodyPr anchor="t"/>
          <a:lstStyle>
            <a:lvl1pPr>
              <a:defRPr sz="2600">
                <a:latin typeface="HEINEKEN Core" panose="0200050305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entagon 1"/>
          <p:cNvSpPr/>
          <p:nvPr/>
        </p:nvSpPr>
        <p:spPr>
          <a:xfrm>
            <a:off x="3916017" y="0"/>
            <a:ext cx="1063487" cy="856386"/>
          </a:xfrm>
          <a:prstGeom prst="homePlate">
            <a:avLst/>
          </a:prstGeom>
        </p:spPr>
        <p:txBody>
          <a:bodyPr rtlCol="0" anchor="ctr">
            <a:spAutoFit/>
          </a:bodyPr>
          <a:lstStyle/>
          <a:p>
            <a:pPr algn="ctr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205527"/>
              </a:buClr>
              <a:buSzPct val="110000"/>
            </a:pPr>
            <a:endParaRPr lang="en-GB" sz="2000" kern="0">
              <a:solidFill>
                <a:srgbClr val="205527"/>
              </a:solidFill>
              <a:latin typeface="HEINEKEN Core" panose="02000503050000020004" pitchFamily="2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C621514-27B0-4E54-B0CD-B2DBE5D461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7250" y="6323693"/>
            <a:ext cx="9542145" cy="43021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900"/>
            </a:lvl1pPr>
            <a:lvl2pPr marL="0" indent="0">
              <a:buNone/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51B805-5E3B-422E-8EC2-D10784E30F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7682" y="6229540"/>
            <a:ext cx="1805354" cy="43300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A50EFFA-969A-40D0-AC54-1B81527208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7682" y="6229540"/>
            <a:ext cx="1805354" cy="43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764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11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514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62830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050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718967"/>
            <a:ext cx="11082528" cy="538609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59668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512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727473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157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4E4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B63EDC0-F170-42D2-AC0A-E7B62F3B298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101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5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4E4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C53B2C-4D9C-4373-A56A-8B3D940421D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943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94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4E4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654810"/>
            <a:ext cx="5065776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1051988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A43836-5B9C-4391-86E5-00698277162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675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42" Type="http://schemas.openxmlformats.org/officeDocument/2006/relationships/tags" Target="../tags/tag9.xml"/><Relationship Id="rId47" Type="http://schemas.openxmlformats.org/officeDocument/2006/relationships/tags" Target="../tags/tag14.xml"/><Relationship Id="rId50" Type="http://schemas.openxmlformats.org/officeDocument/2006/relationships/tags" Target="../tags/tag17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tags" Target="../tags/tag4.xml"/><Relationship Id="rId40" Type="http://schemas.openxmlformats.org/officeDocument/2006/relationships/tags" Target="../tags/tag7.xml"/><Relationship Id="rId45" Type="http://schemas.openxmlformats.org/officeDocument/2006/relationships/tags" Target="../tags/tag12.xml"/><Relationship Id="rId53" Type="http://schemas.openxmlformats.org/officeDocument/2006/relationships/tags" Target="../tags/tag20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1.xml"/><Relationship Id="rId52" Type="http://schemas.openxmlformats.org/officeDocument/2006/relationships/tags" Target="../tags/tag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43" Type="http://schemas.openxmlformats.org/officeDocument/2006/relationships/tags" Target="../tags/tag10.xml"/><Relationship Id="rId48" Type="http://schemas.openxmlformats.org/officeDocument/2006/relationships/tags" Target="../tags/tag15.xml"/><Relationship Id="rId56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tags" Target="../tags/tag5.xml"/><Relationship Id="rId46" Type="http://schemas.openxmlformats.org/officeDocument/2006/relationships/tags" Target="../tags/tag13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8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49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926880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54" imgW="413" imgH="416" progId="TCLayout.ActiveDocument.1">
                  <p:embed/>
                </p:oleObj>
              </mc:Choice>
              <mc:Fallback>
                <p:oleObj name="think-cell Slide" r:id="rId5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36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982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7"/>
            </p:custDataLst>
          </p:nvPr>
        </p:nvSpPr>
        <p:spPr>
          <a:xfrm>
            <a:off x="554736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54736" y="2170800"/>
            <a:ext cx="276966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9F039AC1-56A9-4752-98E6-CF6DE1F7BEB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DD274EB-2F2A-4962-AE22-668D2A210B16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28D0A87B-45F7-4085-AEC9-5B2535601DF0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340B9B6E-DDEB-4C20-ADBE-23A6DDB4433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68FAC4-AF56-4E03-BD82-AF47CD81A8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61CE115E-955E-457A-AE2E-22A7A2EAE6F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E438EDC9-01DE-4D71-8B74-6D68CAE49A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15137132-ED4B-4867-8957-24C0E986E953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3584F38-0358-4FC1-B87D-90F67002F84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DE586444-F6C0-4C18-BBC5-E9468D62619F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02E38F-55DD-4E8E-B971-E87F45841FF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1446C037-674E-424F-ADE2-D4695E632F8C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7FAE878-BAEA-4E19-BB51-A0564F671BB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2A2A91B-C2ED-4638-8B27-9334BF573896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EE1A26C0-35D6-4BFE-A8AA-69A44DF3A8BC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41EE2985-B32D-4006-953F-3D0B126E8740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90071E4B-34F5-4862-8888-1F3AB6665DB7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C726BB31-88A0-433B-BAF5-D3D1418F3B86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57F0564B-58EB-45D2-9246-FB8D9745A9AD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56C51B3B-E4A2-4BB3-BCA2-267EDEF1E414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6D2B86D6-0BA7-4201-9D0D-16D386BD8AC3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6288512-66D0-46B0-83C4-1DDA03B73797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67ECED74-EC96-4A1E-AD93-F2C7799AC469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1BDD5246-E52F-4212-B0E1-C7ACD197BB66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CD0D0AD1-52CF-4EF5-A0F2-9B650767F910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D6F414F9-B4E5-4D13-88EA-0FACC4C57820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0779873-FBEF-4F26-917A-09E64030568E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0C13CC8-7655-4C22-BC36-98C54EC496B9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D77E1C2E-9FDE-4A73-86C3-ECE8BDE52EC0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50FC312-FC41-49AE-8714-9B93CA3E00F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67B79904-CF60-40E4-BE3F-CD355DD57E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CFCC7B73-F44C-4327-87C0-28C078F322A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C312F557-47D5-4EDD-8EE2-9B176B28597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19378EE9-AEC0-455A-9E02-E86FE27FCAE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B835265B-3ECF-496E-BD37-3AFC71AE13B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96847852-03B6-4D74-ABC1-18410C40013F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194F896E-BE3D-40F3-AD62-0EA8BD5DAF9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0BB6E76F-CDEC-439C-9CC3-7513BFFB4D83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3DB6311-6403-4710-B875-A7CE066978E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 userDrawn="1">
            <p:ph type="title"/>
            <p:custDataLst>
              <p:tags r:id="rId38"/>
            </p:custDataLst>
          </p:nvPr>
        </p:nvSpPr>
        <p:spPr>
          <a:xfrm>
            <a:off x="554736" y="654810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A344A3BA-F7C8-4C88-BC3E-3271C18C4A10}"/>
              </a:ext>
            </a:extLst>
          </p:cNvPr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73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082408-E989-4E1B-B13F-F30FA09C45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082408-E989-4E1B-B13F-F30FA09C4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3B7089F1-AEC7-4951-845D-51AAD7672D88}"/>
              </a:ext>
            </a:extLst>
          </p:cNvPr>
          <p:cNvGrpSpPr/>
          <p:nvPr/>
        </p:nvGrpSpPr>
        <p:grpSpPr>
          <a:xfrm>
            <a:off x="431123" y="456351"/>
            <a:ext cx="5292000" cy="23745"/>
            <a:chOff x="431123" y="581479"/>
            <a:chExt cx="5292000" cy="23745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91FFB568-D09E-4994-AE25-18BA3F2E4497}"/>
                </a:ext>
              </a:extLst>
            </p:cNvPr>
            <p:cNvCxnSpPr/>
            <p:nvPr/>
          </p:nvCxnSpPr>
          <p:spPr>
            <a:xfrm>
              <a:off x="431123" y="581479"/>
              <a:ext cx="5292000" cy="0"/>
            </a:xfrm>
            <a:prstGeom prst="line">
              <a:avLst/>
            </a:prstGeom>
            <a:noFill/>
            <a:ln w="6350" cap="flat" cmpd="sng" algn="ctr">
              <a:solidFill>
                <a:srgbClr val="008200"/>
              </a:solidFill>
              <a:prstDash val="solid"/>
              <a:miter lim="800000"/>
            </a:ln>
            <a:effectLst/>
          </p:spPr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0AEC911E-A126-4145-9AC9-A1A76E0C9228}"/>
                </a:ext>
              </a:extLst>
            </p:cNvPr>
            <p:cNvCxnSpPr>
              <a:cxnSpLocks/>
            </p:cNvCxnSpPr>
            <p:nvPr/>
          </p:nvCxnSpPr>
          <p:spPr>
            <a:xfrm>
              <a:off x="431142" y="605224"/>
              <a:ext cx="3996001" cy="0"/>
            </a:xfrm>
            <a:prstGeom prst="line">
              <a:avLst/>
            </a:prstGeom>
            <a:noFill/>
            <a:ln w="38100" cap="flat" cmpd="sng" algn="ctr">
              <a:solidFill>
                <a:srgbClr val="008200"/>
              </a:solidFill>
              <a:prstDash val="solid"/>
              <a:miter lim="800000"/>
            </a:ln>
            <a:effectLst/>
          </p:spPr>
        </p:cxn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AC31CEE-6AAB-4343-8C20-84D979065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123" y="26226"/>
            <a:ext cx="11175162" cy="407085"/>
          </a:xfrm>
        </p:spPr>
        <p:txBody>
          <a:bodyPr/>
          <a:lstStyle/>
          <a:p>
            <a:r>
              <a:rPr lang="en-US">
                <a:sym typeface="Calibri" panose="020F0502020204030204" pitchFamily="34" charset="0"/>
              </a:rPr>
              <a:t>A. Cycle Execution + Tactical Plan Update</a:t>
            </a:r>
            <a:endParaRPr lang="en-US"/>
          </a:p>
        </p:txBody>
      </p:sp>
      <p:sp>
        <p:nvSpPr>
          <p:cNvPr id="82" name="AutoShape 128">
            <a:extLst>
              <a:ext uri="{FF2B5EF4-FFF2-40B4-BE49-F238E27FC236}">
                <a16:creationId xmlns:a16="http://schemas.microsoft.com/office/drawing/2014/main" id="{A4441252-7C25-4304-8A47-2A2910DA19EF}"/>
              </a:ext>
            </a:extLst>
          </p:cNvPr>
          <p:cNvSpPr>
            <a:spLocks/>
          </p:cNvSpPr>
          <p:nvPr/>
        </p:nvSpPr>
        <p:spPr bwMode="auto">
          <a:xfrm flipV="1">
            <a:off x="287750" y="3846635"/>
            <a:ext cx="11888815" cy="50681"/>
          </a:xfrm>
          <a:custGeom>
            <a:avLst/>
            <a:gdLst>
              <a:gd name="T0" fmla="*/ 20994 w 21600"/>
              <a:gd name="T1" fmla="*/ 4943 h 20357"/>
              <a:gd name="T2" fmla="*/ 20855 w 21600"/>
              <a:gd name="T3" fmla="*/ 3770 h 20357"/>
              <a:gd name="T4" fmla="*/ 20102 w 21600"/>
              <a:gd name="T5" fmla="*/ 4409 h 20357"/>
              <a:gd name="T6" fmla="*/ 19759 w 21600"/>
              <a:gd name="T7" fmla="*/ 4943 h 20357"/>
              <a:gd name="T8" fmla="*/ 19333 w 21600"/>
              <a:gd name="T9" fmla="*/ 4943 h 20357"/>
              <a:gd name="T10" fmla="*/ 17785 w 21600"/>
              <a:gd name="T11" fmla="*/ 4943 h 20357"/>
              <a:gd name="T12" fmla="*/ 17526 w 21600"/>
              <a:gd name="T13" fmla="*/ 4258 h 20357"/>
              <a:gd name="T14" fmla="*/ 17180 w 21600"/>
              <a:gd name="T15" fmla="*/ 4943 h 20357"/>
              <a:gd name="T16" fmla="*/ 16490 w 21600"/>
              <a:gd name="T17" fmla="*/ 4082 h 20357"/>
              <a:gd name="T18" fmla="*/ 15676 w 21600"/>
              <a:gd name="T19" fmla="*/ 4943 h 20357"/>
              <a:gd name="T20" fmla="*/ 14169 w 21600"/>
              <a:gd name="T21" fmla="*/ 4943 h 20357"/>
              <a:gd name="T22" fmla="*/ 13770 w 21600"/>
              <a:gd name="T23" fmla="*/ 0 h 20357"/>
              <a:gd name="T24" fmla="*/ 13453 w 21600"/>
              <a:gd name="T25" fmla="*/ 807 h 20357"/>
              <a:gd name="T26" fmla="*/ 12290 w 21600"/>
              <a:gd name="T27" fmla="*/ 2543 h 20357"/>
              <a:gd name="T28" fmla="*/ 12027 w 21600"/>
              <a:gd name="T29" fmla="*/ 2411 h 20357"/>
              <a:gd name="T30" fmla="*/ 11202 w 21600"/>
              <a:gd name="T31" fmla="*/ 1124 h 20357"/>
              <a:gd name="T32" fmla="*/ 9507 w 21600"/>
              <a:gd name="T33" fmla="*/ 3379 h 20357"/>
              <a:gd name="T34" fmla="*/ 8471 w 21600"/>
              <a:gd name="T35" fmla="*/ 2301 h 20357"/>
              <a:gd name="T36" fmla="*/ 7871 w 21600"/>
              <a:gd name="T37" fmla="*/ 644 h 20357"/>
              <a:gd name="T38" fmla="*/ 6985 w 21600"/>
              <a:gd name="T39" fmla="*/ 3343 h 20357"/>
              <a:gd name="T40" fmla="*/ 6397 w 21600"/>
              <a:gd name="T41" fmla="*/ 2990 h 20357"/>
              <a:gd name="T42" fmla="*/ 5666 w 21600"/>
              <a:gd name="T43" fmla="*/ 4943 h 20357"/>
              <a:gd name="T44" fmla="*/ 5013 w 21600"/>
              <a:gd name="T45" fmla="*/ 3458 h 20357"/>
              <a:gd name="T46" fmla="*/ 4682 w 21600"/>
              <a:gd name="T47" fmla="*/ 2265 h 20357"/>
              <a:gd name="T48" fmla="*/ 4023 w 21600"/>
              <a:gd name="T49" fmla="*/ 4943 h 20357"/>
              <a:gd name="T50" fmla="*/ 3526 w 21600"/>
              <a:gd name="T51" fmla="*/ 4943 h 20357"/>
              <a:gd name="T52" fmla="*/ 21 w 21600"/>
              <a:gd name="T53" fmla="*/ 8882 h 20357"/>
              <a:gd name="T54" fmla="*/ 1346 w 21600"/>
              <a:gd name="T55" fmla="*/ 15865 h 20357"/>
              <a:gd name="T56" fmla="*/ 2075 w 21600"/>
              <a:gd name="T57" fmla="*/ 18912 h 20357"/>
              <a:gd name="T58" fmla="*/ 2480 w 21600"/>
              <a:gd name="T59" fmla="*/ 18641 h 20357"/>
              <a:gd name="T60" fmla="*/ 2359 w 21600"/>
              <a:gd name="T61" fmla="*/ 16603 h 20357"/>
              <a:gd name="T62" fmla="*/ 3086 w 21600"/>
              <a:gd name="T63" fmla="*/ 15436 h 20357"/>
              <a:gd name="T64" fmla="*/ 3175 w 21600"/>
              <a:gd name="T65" fmla="*/ 12197 h 20357"/>
              <a:gd name="T66" fmla="*/ 3131 w 21600"/>
              <a:gd name="T67" fmla="*/ 15630 h 20357"/>
              <a:gd name="T68" fmla="*/ 3250 w 21600"/>
              <a:gd name="T69" fmla="*/ 18900 h 20357"/>
              <a:gd name="T70" fmla="*/ 4192 w 21600"/>
              <a:gd name="T71" fmla="*/ 15322 h 20357"/>
              <a:gd name="T72" fmla="*/ 4476 w 21600"/>
              <a:gd name="T73" fmla="*/ 15607 h 20357"/>
              <a:gd name="T74" fmla="*/ 5816 w 21600"/>
              <a:gd name="T75" fmla="*/ 18963 h 20357"/>
              <a:gd name="T76" fmla="*/ 6008 w 21600"/>
              <a:gd name="T77" fmla="*/ 18028 h 20357"/>
              <a:gd name="T78" fmla="*/ 6858 w 21600"/>
              <a:gd name="T79" fmla="*/ 15447 h 20357"/>
              <a:gd name="T80" fmla="*/ 8513 w 21600"/>
              <a:gd name="T81" fmla="*/ 15854 h 20357"/>
              <a:gd name="T82" fmla="*/ 8746 w 21600"/>
              <a:gd name="T83" fmla="*/ 17580 h 20357"/>
              <a:gd name="T84" fmla="*/ 9176 w 21600"/>
              <a:gd name="T85" fmla="*/ 18046 h 20357"/>
              <a:gd name="T86" fmla="*/ 9616 w 21600"/>
              <a:gd name="T87" fmla="*/ 19107 h 20357"/>
              <a:gd name="T88" fmla="*/ 10302 w 21600"/>
              <a:gd name="T89" fmla="*/ 15054 h 20357"/>
              <a:gd name="T90" fmla="*/ 10620 w 21600"/>
              <a:gd name="T91" fmla="*/ 18900 h 20357"/>
              <a:gd name="T92" fmla="*/ 11696 w 21600"/>
              <a:gd name="T93" fmla="*/ 17718 h 20357"/>
              <a:gd name="T94" fmla="*/ 12311 w 21600"/>
              <a:gd name="T95" fmla="*/ 14661 h 20357"/>
              <a:gd name="T96" fmla="*/ 13226 w 21600"/>
              <a:gd name="T97" fmla="*/ 17781 h 20357"/>
              <a:gd name="T98" fmla="*/ 14805 w 21600"/>
              <a:gd name="T99" fmla="*/ 19537 h 20357"/>
              <a:gd name="T100" fmla="*/ 16284 w 21600"/>
              <a:gd name="T101" fmla="*/ 20346 h 20357"/>
              <a:gd name="T102" fmla="*/ 17527 w 21600"/>
              <a:gd name="T103" fmla="*/ 18373 h 20357"/>
              <a:gd name="T104" fmla="*/ 18039 w 21600"/>
              <a:gd name="T105" fmla="*/ 18972 h 20357"/>
              <a:gd name="T106" fmla="*/ 19081 w 21600"/>
              <a:gd name="T107" fmla="*/ 16977 h 20357"/>
              <a:gd name="T108" fmla="*/ 20482 w 21600"/>
              <a:gd name="T109" fmla="*/ 15421 h 20357"/>
              <a:gd name="T110" fmla="*/ 21398 w 21600"/>
              <a:gd name="T111" fmla="*/ 16288 h 20357"/>
              <a:gd name="T112" fmla="*/ 21600 w 21600"/>
              <a:gd name="T113" fmla="*/ 4943 h 20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00" h="20357">
                <a:moveTo>
                  <a:pt x="21600" y="4943"/>
                </a:moveTo>
                <a:lnTo>
                  <a:pt x="21064" y="4943"/>
                </a:lnTo>
                <a:cubicBezTo>
                  <a:pt x="21057" y="4930"/>
                  <a:pt x="21050" y="4922"/>
                  <a:pt x="21042" y="4943"/>
                </a:cubicBezTo>
                <a:lnTo>
                  <a:pt x="20994" y="4943"/>
                </a:lnTo>
                <a:cubicBezTo>
                  <a:pt x="20962" y="4169"/>
                  <a:pt x="20997" y="3027"/>
                  <a:pt x="20955" y="2564"/>
                </a:cubicBezTo>
                <a:cubicBezTo>
                  <a:pt x="20829" y="4011"/>
                  <a:pt x="20818" y="1034"/>
                  <a:pt x="20685" y="2230"/>
                </a:cubicBezTo>
                <a:cubicBezTo>
                  <a:pt x="20723" y="3730"/>
                  <a:pt x="20730" y="3363"/>
                  <a:pt x="20636" y="4826"/>
                </a:cubicBezTo>
                <a:lnTo>
                  <a:pt x="20855" y="3770"/>
                </a:lnTo>
                <a:lnTo>
                  <a:pt x="20780" y="4943"/>
                </a:lnTo>
                <a:lnTo>
                  <a:pt x="20584" y="4943"/>
                </a:lnTo>
                <a:lnTo>
                  <a:pt x="20585" y="3435"/>
                </a:lnTo>
                <a:cubicBezTo>
                  <a:pt x="20428" y="1781"/>
                  <a:pt x="20306" y="5342"/>
                  <a:pt x="20102" y="4409"/>
                </a:cubicBezTo>
                <a:lnTo>
                  <a:pt x="20156" y="4943"/>
                </a:lnTo>
                <a:lnTo>
                  <a:pt x="19970" y="4943"/>
                </a:lnTo>
                <a:cubicBezTo>
                  <a:pt x="19958" y="4327"/>
                  <a:pt x="19932" y="3938"/>
                  <a:pt x="19912" y="3392"/>
                </a:cubicBezTo>
                <a:cubicBezTo>
                  <a:pt x="19915" y="4185"/>
                  <a:pt x="19803" y="3557"/>
                  <a:pt x="19759" y="4943"/>
                </a:cubicBezTo>
                <a:lnTo>
                  <a:pt x="19697" y="4943"/>
                </a:lnTo>
                <a:lnTo>
                  <a:pt x="19653" y="4153"/>
                </a:lnTo>
                <a:cubicBezTo>
                  <a:pt x="19592" y="3903"/>
                  <a:pt x="19550" y="4331"/>
                  <a:pt x="19514" y="4943"/>
                </a:cubicBezTo>
                <a:lnTo>
                  <a:pt x="19333" y="4943"/>
                </a:lnTo>
                <a:cubicBezTo>
                  <a:pt x="19341" y="4650"/>
                  <a:pt x="19357" y="4365"/>
                  <a:pt x="19389" y="4073"/>
                </a:cubicBezTo>
                <a:cubicBezTo>
                  <a:pt x="19336" y="4060"/>
                  <a:pt x="19288" y="3833"/>
                  <a:pt x="19287" y="4694"/>
                </a:cubicBezTo>
                <a:cubicBezTo>
                  <a:pt x="19274" y="4357"/>
                  <a:pt x="19245" y="4626"/>
                  <a:pt x="19212" y="4943"/>
                </a:cubicBezTo>
                <a:lnTo>
                  <a:pt x="17785" y="4943"/>
                </a:lnTo>
                <a:cubicBezTo>
                  <a:pt x="17757" y="4296"/>
                  <a:pt x="17710" y="4640"/>
                  <a:pt x="17659" y="4943"/>
                </a:cubicBezTo>
                <a:lnTo>
                  <a:pt x="17528" y="4943"/>
                </a:lnTo>
                <a:cubicBezTo>
                  <a:pt x="17518" y="4833"/>
                  <a:pt x="17509" y="4697"/>
                  <a:pt x="17499" y="4499"/>
                </a:cubicBezTo>
                <a:lnTo>
                  <a:pt x="17526" y="4258"/>
                </a:lnTo>
                <a:cubicBezTo>
                  <a:pt x="17472" y="3360"/>
                  <a:pt x="17401" y="4266"/>
                  <a:pt x="17321" y="4943"/>
                </a:cubicBezTo>
                <a:lnTo>
                  <a:pt x="17183" y="4943"/>
                </a:lnTo>
                <a:cubicBezTo>
                  <a:pt x="17183" y="4928"/>
                  <a:pt x="17183" y="4911"/>
                  <a:pt x="17183" y="4897"/>
                </a:cubicBezTo>
                <a:cubicBezTo>
                  <a:pt x="17182" y="4913"/>
                  <a:pt x="17181" y="4927"/>
                  <a:pt x="17180" y="4943"/>
                </a:cubicBezTo>
                <a:lnTo>
                  <a:pt x="16671" y="4943"/>
                </a:lnTo>
                <a:cubicBezTo>
                  <a:pt x="16630" y="3940"/>
                  <a:pt x="16579" y="4597"/>
                  <a:pt x="16533" y="4943"/>
                </a:cubicBezTo>
                <a:lnTo>
                  <a:pt x="16483" y="4943"/>
                </a:lnTo>
                <a:lnTo>
                  <a:pt x="16490" y="4082"/>
                </a:lnTo>
                <a:cubicBezTo>
                  <a:pt x="16432" y="4188"/>
                  <a:pt x="16394" y="4535"/>
                  <a:pt x="16361" y="4943"/>
                </a:cubicBezTo>
                <a:lnTo>
                  <a:pt x="15826" y="4943"/>
                </a:lnTo>
                <a:cubicBezTo>
                  <a:pt x="15844" y="4759"/>
                  <a:pt x="15860" y="4575"/>
                  <a:pt x="15875" y="4387"/>
                </a:cubicBezTo>
                <a:cubicBezTo>
                  <a:pt x="15829" y="4374"/>
                  <a:pt x="15738" y="4470"/>
                  <a:pt x="15676" y="4943"/>
                </a:cubicBezTo>
                <a:lnTo>
                  <a:pt x="15061" y="4943"/>
                </a:lnTo>
                <a:cubicBezTo>
                  <a:pt x="15012" y="4684"/>
                  <a:pt x="14969" y="4210"/>
                  <a:pt x="14945" y="3246"/>
                </a:cubicBezTo>
                <a:cubicBezTo>
                  <a:pt x="14712" y="5027"/>
                  <a:pt x="14483" y="2488"/>
                  <a:pt x="14212" y="2774"/>
                </a:cubicBezTo>
                <a:cubicBezTo>
                  <a:pt x="14281" y="5487"/>
                  <a:pt x="14208" y="4323"/>
                  <a:pt x="14169" y="4943"/>
                </a:cubicBezTo>
                <a:lnTo>
                  <a:pt x="13913" y="4943"/>
                </a:lnTo>
                <a:lnTo>
                  <a:pt x="13865" y="4361"/>
                </a:lnTo>
                <a:cubicBezTo>
                  <a:pt x="13819" y="3242"/>
                  <a:pt x="13925" y="3513"/>
                  <a:pt x="13919" y="2651"/>
                </a:cubicBezTo>
                <a:cubicBezTo>
                  <a:pt x="13781" y="2356"/>
                  <a:pt x="13861" y="1021"/>
                  <a:pt x="13770" y="0"/>
                </a:cubicBezTo>
                <a:cubicBezTo>
                  <a:pt x="13788" y="1375"/>
                  <a:pt x="13721" y="1969"/>
                  <a:pt x="13643" y="1444"/>
                </a:cubicBezTo>
                <a:lnTo>
                  <a:pt x="13754" y="3218"/>
                </a:lnTo>
                <a:cubicBezTo>
                  <a:pt x="13560" y="5264"/>
                  <a:pt x="13587" y="-10"/>
                  <a:pt x="13392" y="2017"/>
                </a:cubicBezTo>
                <a:lnTo>
                  <a:pt x="13453" y="807"/>
                </a:lnTo>
                <a:cubicBezTo>
                  <a:pt x="13353" y="1521"/>
                  <a:pt x="13084" y="783"/>
                  <a:pt x="12986" y="3872"/>
                </a:cubicBezTo>
                <a:cubicBezTo>
                  <a:pt x="12969" y="3428"/>
                  <a:pt x="12945" y="2376"/>
                  <a:pt x="12989" y="2098"/>
                </a:cubicBezTo>
                <a:cubicBezTo>
                  <a:pt x="12750" y="1635"/>
                  <a:pt x="12458" y="5385"/>
                  <a:pt x="12272" y="3483"/>
                </a:cubicBezTo>
                <a:lnTo>
                  <a:pt x="12290" y="2543"/>
                </a:lnTo>
                <a:cubicBezTo>
                  <a:pt x="12245" y="2815"/>
                  <a:pt x="12212" y="4309"/>
                  <a:pt x="12157" y="3363"/>
                </a:cubicBezTo>
                <a:cubicBezTo>
                  <a:pt x="12159" y="2975"/>
                  <a:pt x="12175" y="2425"/>
                  <a:pt x="12154" y="2370"/>
                </a:cubicBezTo>
                <a:cubicBezTo>
                  <a:pt x="12130" y="2694"/>
                  <a:pt x="12035" y="4017"/>
                  <a:pt x="11976" y="3469"/>
                </a:cubicBezTo>
                <a:lnTo>
                  <a:pt x="12027" y="2411"/>
                </a:lnTo>
                <a:cubicBezTo>
                  <a:pt x="11840" y="1423"/>
                  <a:pt x="11722" y="3680"/>
                  <a:pt x="11582" y="4943"/>
                </a:cubicBezTo>
                <a:lnTo>
                  <a:pt x="11469" y="4943"/>
                </a:lnTo>
                <a:cubicBezTo>
                  <a:pt x="11442" y="2713"/>
                  <a:pt x="11283" y="1925"/>
                  <a:pt x="11199" y="1516"/>
                </a:cubicBezTo>
                <a:lnTo>
                  <a:pt x="11202" y="1124"/>
                </a:lnTo>
                <a:cubicBezTo>
                  <a:pt x="10931" y="783"/>
                  <a:pt x="10741" y="3419"/>
                  <a:pt x="10490" y="4505"/>
                </a:cubicBezTo>
                <a:cubicBezTo>
                  <a:pt x="10334" y="1501"/>
                  <a:pt x="9962" y="3246"/>
                  <a:pt x="9711" y="1562"/>
                </a:cubicBezTo>
                <a:cubicBezTo>
                  <a:pt x="9749" y="2064"/>
                  <a:pt x="9705" y="3719"/>
                  <a:pt x="9660" y="3997"/>
                </a:cubicBezTo>
                <a:cubicBezTo>
                  <a:pt x="9601" y="3435"/>
                  <a:pt x="9497" y="5918"/>
                  <a:pt x="9507" y="3379"/>
                </a:cubicBezTo>
                <a:lnTo>
                  <a:pt x="9528" y="3428"/>
                </a:lnTo>
                <a:cubicBezTo>
                  <a:pt x="9483" y="937"/>
                  <a:pt x="9363" y="1599"/>
                  <a:pt x="9268" y="1531"/>
                </a:cubicBezTo>
                <a:lnTo>
                  <a:pt x="9253" y="4853"/>
                </a:lnTo>
                <a:cubicBezTo>
                  <a:pt x="9006" y="22"/>
                  <a:pt x="8605" y="6627"/>
                  <a:pt x="8471" y="2301"/>
                </a:cubicBezTo>
                <a:cubicBezTo>
                  <a:pt x="8411" y="3131"/>
                  <a:pt x="8337" y="3122"/>
                  <a:pt x="8278" y="3951"/>
                </a:cubicBezTo>
                <a:lnTo>
                  <a:pt x="8281" y="2170"/>
                </a:lnTo>
                <a:cubicBezTo>
                  <a:pt x="8116" y="1716"/>
                  <a:pt x="8034" y="1492"/>
                  <a:pt x="7830" y="1917"/>
                </a:cubicBezTo>
                <a:lnTo>
                  <a:pt x="7871" y="644"/>
                </a:lnTo>
                <a:cubicBezTo>
                  <a:pt x="7786" y="560"/>
                  <a:pt x="7747" y="3413"/>
                  <a:pt x="7690" y="4943"/>
                </a:cubicBezTo>
                <a:lnTo>
                  <a:pt x="7608" y="4943"/>
                </a:lnTo>
                <a:lnTo>
                  <a:pt x="7588" y="3225"/>
                </a:lnTo>
                <a:cubicBezTo>
                  <a:pt x="7387" y="3267"/>
                  <a:pt x="7184" y="933"/>
                  <a:pt x="6985" y="3343"/>
                </a:cubicBezTo>
                <a:cubicBezTo>
                  <a:pt x="6988" y="2955"/>
                  <a:pt x="6994" y="2185"/>
                  <a:pt x="7027" y="2078"/>
                </a:cubicBezTo>
                <a:cubicBezTo>
                  <a:pt x="6935" y="2011"/>
                  <a:pt x="6679" y="390"/>
                  <a:pt x="6693" y="3587"/>
                </a:cubicBezTo>
                <a:cubicBezTo>
                  <a:pt x="6671" y="1786"/>
                  <a:pt x="6482" y="3751"/>
                  <a:pt x="6380" y="4742"/>
                </a:cubicBezTo>
                <a:lnTo>
                  <a:pt x="6397" y="2990"/>
                </a:lnTo>
                <a:cubicBezTo>
                  <a:pt x="6361" y="3851"/>
                  <a:pt x="6339" y="4470"/>
                  <a:pt x="6318" y="4943"/>
                </a:cubicBezTo>
                <a:lnTo>
                  <a:pt x="5669" y="4943"/>
                </a:lnTo>
                <a:cubicBezTo>
                  <a:pt x="5668" y="4914"/>
                  <a:pt x="5668" y="4886"/>
                  <a:pt x="5667" y="4857"/>
                </a:cubicBezTo>
                <a:cubicBezTo>
                  <a:pt x="5667" y="4885"/>
                  <a:pt x="5666" y="4915"/>
                  <a:pt x="5666" y="4943"/>
                </a:cubicBezTo>
                <a:lnTo>
                  <a:pt x="5401" y="4943"/>
                </a:lnTo>
                <a:cubicBezTo>
                  <a:pt x="5396" y="3417"/>
                  <a:pt x="5292" y="3095"/>
                  <a:pt x="5378" y="913"/>
                </a:cubicBezTo>
                <a:cubicBezTo>
                  <a:pt x="5289" y="2130"/>
                  <a:pt x="5136" y="4777"/>
                  <a:pt x="5027" y="4017"/>
                </a:cubicBezTo>
                <a:cubicBezTo>
                  <a:pt x="5022" y="3861"/>
                  <a:pt x="5017" y="3707"/>
                  <a:pt x="5013" y="3458"/>
                </a:cubicBezTo>
                <a:lnTo>
                  <a:pt x="5024" y="3277"/>
                </a:lnTo>
                <a:cubicBezTo>
                  <a:pt x="4999" y="3116"/>
                  <a:pt x="4977" y="3267"/>
                  <a:pt x="4956" y="3538"/>
                </a:cubicBezTo>
                <a:cubicBezTo>
                  <a:pt x="4921" y="3273"/>
                  <a:pt x="4899" y="3076"/>
                  <a:pt x="4866" y="3052"/>
                </a:cubicBezTo>
                <a:cubicBezTo>
                  <a:pt x="4853" y="1716"/>
                  <a:pt x="4738" y="2331"/>
                  <a:pt x="4682" y="2265"/>
                </a:cubicBezTo>
                <a:cubicBezTo>
                  <a:pt x="4686" y="3918"/>
                  <a:pt x="4623" y="3779"/>
                  <a:pt x="4671" y="4943"/>
                </a:cubicBezTo>
                <a:lnTo>
                  <a:pt x="4496" y="4943"/>
                </a:lnTo>
                <a:cubicBezTo>
                  <a:pt x="4457" y="4256"/>
                  <a:pt x="4425" y="3637"/>
                  <a:pt x="4416" y="2985"/>
                </a:cubicBezTo>
                <a:cubicBezTo>
                  <a:pt x="4293" y="3702"/>
                  <a:pt x="4139" y="3731"/>
                  <a:pt x="4023" y="4943"/>
                </a:cubicBezTo>
                <a:lnTo>
                  <a:pt x="3901" y="4943"/>
                </a:lnTo>
                <a:cubicBezTo>
                  <a:pt x="3905" y="4884"/>
                  <a:pt x="3909" y="4817"/>
                  <a:pt x="3912" y="4727"/>
                </a:cubicBezTo>
                <a:cubicBezTo>
                  <a:pt x="3902" y="4812"/>
                  <a:pt x="3891" y="4881"/>
                  <a:pt x="3880" y="4943"/>
                </a:cubicBezTo>
                <a:lnTo>
                  <a:pt x="3526" y="4943"/>
                </a:lnTo>
                <a:lnTo>
                  <a:pt x="3527" y="4912"/>
                </a:lnTo>
                <a:cubicBezTo>
                  <a:pt x="3402" y="3504"/>
                  <a:pt x="3295" y="4022"/>
                  <a:pt x="3190" y="4943"/>
                </a:cubicBezTo>
                <a:lnTo>
                  <a:pt x="0" y="4943"/>
                </a:lnTo>
                <a:lnTo>
                  <a:pt x="21" y="8882"/>
                </a:lnTo>
                <a:lnTo>
                  <a:pt x="29" y="8882"/>
                </a:lnTo>
                <a:lnTo>
                  <a:pt x="29" y="14010"/>
                </a:lnTo>
                <a:cubicBezTo>
                  <a:pt x="32" y="14222"/>
                  <a:pt x="69" y="13664"/>
                  <a:pt x="68" y="14013"/>
                </a:cubicBezTo>
                <a:cubicBezTo>
                  <a:pt x="88" y="13349"/>
                  <a:pt x="1288" y="15980"/>
                  <a:pt x="1346" y="15865"/>
                </a:cubicBezTo>
                <a:cubicBezTo>
                  <a:pt x="1239" y="19183"/>
                  <a:pt x="1563" y="16060"/>
                  <a:pt x="1535" y="19618"/>
                </a:cubicBezTo>
                <a:cubicBezTo>
                  <a:pt x="1614" y="16634"/>
                  <a:pt x="1819" y="18292"/>
                  <a:pt x="1959" y="16637"/>
                </a:cubicBezTo>
                <a:cubicBezTo>
                  <a:pt x="1951" y="16874"/>
                  <a:pt x="1936" y="17354"/>
                  <a:pt x="1923" y="17202"/>
                </a:cubicBezTo>
                <a:cubicBezTo>
                  <a:pt x="2002" y="17450"/>
                  <a:pt x="2025" y="18349"/>
                  <a:pt x="2075" y="18912"/>
                </a:cubicBezTo>
                <a:cubicBezTo>
                  <a:pt x="2085" y="16449"/>
                  <a:pt x="2207" y="15885"/>
                  <a:pt x="2273" y="14365"/>
                </a:cubicBezTo>
                <a:cubicBezTo>
                  <a:pt x="2369" y="16743"/>
                  <a:pt x="2215" y="17257"/>
                  <a:pt x="2245" y="19542"/>
                </a:cubicBezTo>
                <a:cubicBezTo>
                  <a:pt x="2240" y="17545"/>
                  <a:pt x="2412" y="17549"/>
                  <a:pt x="2379" y="15885"/>
                </a:cubicBezTo>
                <a:cubicBezTo>
                  <a:pt x="2453" y="17356"/>
                  <a:pt x="2442" y="16599"/>
                  <a:pt x="2480" y="18641"/>
                </a:cubicBezTo>
                <a:cubicBezTo>
                  <a:pt x="2493" y="15559"/>
                  <a:pt x="2549" y="18120"/>
                  <a:pt x="2610" y="16227"/>
                </a:cubicBezTo>
                <a:cubicBezTo>
                  <a:pt x="2716" y="17746"/>
                  <a:pt x="2209" y="19114"/>
                  <a:pt x="2326" y="18175"/>
                </a:cubicBezTo>
                <a:cubicBezTo>
                  <a:pt x="2382" y="19120"/>
                  <a:pt x="2278" y="20212"/>
                  <a:pt x="2278" y="20212"/>
                </a:cubicBezTo>
                <a:cubicBezTo>
                  <a:pt x="2397" y="20262"/>
                  <a:pt x="2334" y="17938"/>
                  <a:pt x="2359" y="16603"/>
                </a:cubicBezTo>
                <a:cubicBezTo>
                  <a:pt x="2501" y="15945"/>
                  <a:pt x="2425" y="18315"/>
                  <a:pt x="2473" y="19502"/>
                </a:cubicBezTo>
                <a:cubicBezTo>
                  <a:pt x="2562" y="18888"/>
                  <a:pt x="2630" y="16755"/>
                  <a:pt x="2696" y="16846"/>
                </a:cubicBezTo>
                <a:cubicBezTo>
                  <a:pt x="2701" y="17228"/>
                  <a:pt x="2713" y="17368"/>
                  <a:pt x="2698" y="17847"/>
                </a:cubicBezTo>
                <a:cubicBezTo>
                  <a:pt x="2792" y="16000"/>
                  <a:pt x="2977" y="17757"/>
                  <a:pt x="3086" y="15436"/>
                </a:cubicBezTo>
                <a:cubicBezTo>
                  <a:pt x="3094" y="15642"/>
                  <a:pt x="3098" y="15837"/>
                  <a:pt x="3100" y="16012"/>
                </a:cubicBezTo>
                <a:cubicBezTo>
                  <a:pt x="3082" y="14849"/>
                  <a:pt x="3080" y="13666"/>
                  <a:pt x="3083" y="12825"/>
                </a:cubicBezTo>
                <a:cubicBezTo>
                  <a:pt x="3116" y="12801"/>
                  <a:pt x="3145" y="12279"/>
                  <a:pt x="3167" y="12197"/>
                </a:cubicBezTo>
                <a:lnTo>
                  <a:pt x="3175" y="12197"/>
                </a:lnTo>
                <a:cubicBezTo>
                  <a:pt x="3186" y="12212"/>
                  <a:pt x="3196" y="12376"/>
                  <a:pt x="3202" y="12876"/>
                </a:cubicBezTo>
                <a:cubicBezTo>
                  <a:pt x="3170" y="12832"/>
                  <a:pt x="3167" y="13444"/>
                  <a:pt x="3152" y="13918"/>
                </a:cubicBezTo>
                <a:lnTo>
                  <a:pt x="3208" y="13258"/>
                </a:lnTo>
                <a:cubicBezTo>
                  <a:pt x="3258" y="15441"/>
                  <a:pt x="3131" y="14014"/>
                  <a:pt x="3131" y="15630"/>
                </a:cubicBezTo>
                <a:cubicBezTo>
                  <a:pt x="3240" y="14919"/>
                  <a:pt x="3367" y="13113"/>
                  <a:pt x="3451" y="13729"/>
                </a:cubicBezTo>
                <a:cubicBezTo>
                  <a:pt x="3468" y="15865"/>
                  <a:pt x="3255" y="14448"/>
                  <a:pt x="3367" y="16347"/>
                </a:cubicBezTo>
                <a:lnTo>
                  <a:pt x="3238" y="15532"/>
                </a:lnTo>
                <a:cubicBezTo>
                  <a:pt x="3336" y="18900"/>
                  <a:pt x="3159" y="15295"/>
                  <a:pt x="3250" y="18900"/>
                </a:cubicBezTo>
                <a:cubicBezTo>
                  <a:pt x="3420" y="19519"/>
                  <a:pt x="3440" y="17812"/>
                  <a:pt x="3610" y="18435"/>
                </a:cubicBezTo>
                <a:cubicBezTo>
                  <a:pt x="3648" y="17248"/>
                  <a:pt x="3597" y="16679"/>
                  <a:pt x="3635" y="15492"/>
                </a:cubicBezTo>
                <a:cubicBezTo>
                  <a:pt x="3876" y="13360"/>
                  <a:pt x="3825" y="20863"/>
                  <a:pt x="4002" y="18017"/>
                </a:cubicBezTo>
                <a:cubicBezTo>
                  <a:pt x="4048" y="16594"/>
                  <a:pt x="4066" y="13892"/>
                  <a:pt x="4192" y="15322"/>
                </a:cubicBezTo>
                <a:lnTo>
                  <a:pt x="4149" y="17736"/>
                </a:lnTo>
                <a:cubicBezTo>
                  <a:pt x="4314" y="17974"/>
                  <a:pt x="4243" y="14265"/>
                  <a:pt x="4416" y="15890"/>
                </a:cubicBezTo>
                <a:cubicBezTo>
                  <a:pt x="4385" y="16838"/>
                  <a:pt x="4286" y="16689"/>
                  <a:pt x="4311" y="16977"/>
                </a:cubicBezTo>
                <a:cubicBezTo>
                  <a:pt x="4423" y="18884"/>
                  <a:pt x="4390" y="15607"/>
                  <a:pt x="4476" y="15607"/>
                </a:cubicBezTo>
                <a:lnTo>
                  <a:pt x="4494" y="17746"/>
                </a:lnTo>
                <a:cubicBezTo>
                  <a:pt x="4669" y="17409"/>
                  <a:pt x="4862" y="15865"/>
                  <a:pt x="5056" y="15475"/>
                </a:cubicBezTo>
                <a:cubicBezTo>
                  <a:pt x="5045" y="16111"/>
                  <a:pt x="5012" y="16780"/>
                  <a:pt x="5058" y="17434"/>
                </a:cubicBezTo>
                <a:cubicBezTo>
                  <a:pt x="5302" y="16366"/>
                  <a:pt x="5580" y="17695"/>
                  <a:pt x="5816" y="18963"/>
                </a:cubicBezTo>
                <a:lnTo>
                  <a:pt x="5907" y="17118"/>
                </a:lnTo>
                <a:cubicBezTo>
                  <a:pt x="5928" y="17139"/>
                  <a:pt x="5946" y="17951"/>
                  <a:pt x="5923" y="18310"/>
                </a:cubicBezTo>
                <a:cubicBezTo>
                  <a:pt x="6015" y="19009"/>
                  <a:pt x="5928" y="17139"/>
                  <a:pt x="5972" y="16413"/>
                </a:cubicBezTo>
                <a:cubicBezTo>
                  <a:pt x="6024" y="16284"/>
                  <a:pt x="6041" y="17474"/>
                  <a:pt x="6008" y="18028"/>
                </a:cubicBezTo>
                <a:cubicBezTo>
                  <a:pt x="6170" y="16464"/>
                  <a:pt x="6470" y="14657"/>
                  <a:pt x="6642" y="16634"/>
                </a:cubicBezTo>
                <a:lnTo>
                  <a:pt x="6608" y="17182"/>
                </a:lnTo>
                <a:cubicBezTo>
                  <a:pt x="6741" y="17931"/>
                  <a:pt x="6759" y="13399"/>
                  <a:pt x="6882" y="15120"/>
                </a:cubicBezTo>
                <a:lnTo>
                  <a:pt x="6858" y="15447"/>
                </a:lnTo>
                <a:cubicBezTo>
                  <a:pt x="7148" y="16247"/>
                  <a:pt x="7467" y="14557"/>
                  <a:pt x="7688" y="17343"/>
                </a:cubicBezTo>
                <a:cubicBezTo>
                  <a:pt x="7730" y="14685"/>
                  <a:pt x="7974" y="18529"/>
                  <a:pt x="7993" y="14821"/>
                </a:cubicBezTo>
                <a:cubicBezTo>
                  <a:pt x="8158" y="16659"/>
                  <a:pt x="8111" y="17320"/>
                  <a:pt x="8343" y="18556"/>
                </a:cubicBezTo>
                <a:cubicBezTo>
                  <a:pt x="8405" y="18727"/>
                  <a:pt x="8436" y="16241"/>
                  <a:pt x="8513" y="15854"/>
                </a:cubicBezTo>
                <a:lnTo>
                  <a:pt x="8514" y="17793"/>
                </a:lnTo>
                <a:lnTo>
                  <a:pt x="8619" y="15759"/>
                </a:lnTo>
                <a:lnTo>
                  <a:pt x="8674" y="18077"/>
                </a:lnTo>
                <a:lnTo>
                  <a:pt x="8746" y="17580"/>
                </a:lnTo>
                <a:cubicBezTo>
                  <a:pt x="8717" y="17466"/>
                  <a:pt x="8685" y="16710"/>
                  <a:pt x="8690" y="16151"/>
                </a:cubicBezTo>
                <a:cubicBezTo>
                  <a:pt x="8802" y="15274"/>
                  <a:pt x="8964" y="17502"/>
                  <a:pt x="8967" y="18495"/>
                </a:cubicBezTo>
                <a:lnTo>
                  <a:pt x="9233" y="16855"/>
                </a:lnTo>
                <a:cubicBezTo>
                  <a:pt x="9228" y="17433"/>
                  <a:pt x="9203" y="17729"/>
                  <a:pt x="9176" y="18046"/>
                </a:cubicBezTo>
                <a:cubicBezTo>
                  <a:pt x="9272" y="17015"/>
                  <a:pt x="9183" y="20301"/>
                  <a:pt x="9303" y="18629"/>
                </a:cubicBezTo>
                <a:cubicBezTo>
                  <a:pt x="9286" y="18189"/>
                  <a:pt x="9312" y="17474"/>
                  <a:pt x="9315" y="17082"/>
                </a:cubicBezTo>
                <a:cubicBezTo>
                  <a:pt x="9380" y="18254"/>
                  <a:pt x="9528" y="18265"/>
                  <a:pt x="9637" y="17772"/>
                </a:cubicBezTo>
                <a:lnTo>
                  <a:pt x="9616" y="19107"/>
                </a:lnTo>
                <a:cubicBezTo>
                  <a:pt x="9814" y="19447"/>
                  <a:pt x="10033" y="18466"/>
                  <a:pt x="10254" y="18490"/>
                </a:cubicBezTo>
                <a:cubicBezTo>
                  <a:pt x="10175" y="17867"/>
                  <a:pt x="10193" y="15552"/>
                  <a:pt x="10258" y="15329"/>
                </a:cubicBezTo>
                <a:lnTo>
                  <a:pt x="10284" y="17379"/>
                </a:lnTo>
                <a:cubicBezTo>
                  <a:pt x="10326" y="16111"/>
                  <a:pt x="10216" y="16603"/>
                  <a:pt x="10302" y="15054"/>
                </a:cubicBezTo>
                <a:cubicBezTo>
                  <a:pt x="10385" y="15291"/>
                  <a:pt x="10358" y="17384"/>
                  <a:pt x="10310" y="18050"/>
                </a:cubicBezTo>
                <a:lnTo>
                  <a:pt x="10411" y="17339"/>
                </a:lnTo>
                <a:cubicBezTo>
                  <a:pt x="10417" y="17951"/>
                  <a:pt x="10393" y="18274"/>
                  <a:pt x="10387" y="19054"/>
                </a:cubicBezTo>
                <a:cubicBezTo>
                  <a:pt x="10428" y="17781"/>
                  <a:pt x="10561" y="21109"/>
                  <a:pt x="10620" y="18900"/>
                </a:cubicBezTo>
                <a:lnTo>
                  <a:pt x="10626" y="19510"/>
                </a:lnTo>
                <a:cubicBezTo>
                  <a:pt x="10848" y="19527"/>
                  <a:pt x="10948" y="18822"/>
                  <a:pt x="11128" y="18719"/>
                </a:cubicBezTo>
                <a:cubicBezTo>
                  <a:pt x="11132" y="16950"/>
                  <a:pt x="11202" y="17343"/>
                  <a:pt x="11256" y="15914"/>
                </a:cubicBezTo>
                <a:cubicBezTo>
                  <a:pt x="11389" y="16478"/>
                  <a:pt x="11536" y="17867"/>
                  <a:pt x="11696" y="17718"/>
                </a:cubicBezTo>
                <a:cubicBezTo>
                  <a:pt x="11808" y="16838"/>
                  <a:pt x="11729" y="16221"/>
                  <a:pt x="11779" y="15170"/>
                </a:cubicBezTo>
                <a:cubicBezTo>
                  <a:pt x="11787" y="16780"/>
                  <a:pt x="11947" y="16630"/>
                  <a:pt x="11864" y="17786"/>
                </a:cubicBezTo>
                <a:cubicBezTo>
                  <a:pt x="12056" y="17525"/>
                  <a:pt x="12109" y="17466"/>
                  <a:pt x="12352" y="16158"/>
                </a:cubicBezTo>
                <a:cubicBezTo>
                  <a:pt x="12325" y="15497"/>
                  <a:pt x="12296" y="15211"/>
                  <a:pt x="12311" y="14661"/>
                </a:cubicBezTo>
                <a:cubicBezTo>
                  <a:pt x="12355" y="14396"/>
                  <a:pt x="12411" y="15337"/>
                  <a:pt x="12405" y="16111"/>
                </a:cubicBezTo>
                <a:lnTo>
                  <a:pt x="12393" y="16276"/>
                </a:lnTo>
                <a:cubicBezTo>
                  <a:pt x="12665" y="13863"/>
                  <a:pt x="13021" y="20973"/>
                  <a:pt x="13238" y="17615"/>
                </a:cubicBezTo>
                <a:lnTo>
                  <a:pt x="13226" y="17781"/>
                </a:lnTo>
                <a:lnTo>
                  <a:pt x="13451" y="16031"/>
                </a:lnTo>
                <a:cubicBezTo>
                  <a:pt x="13554" y="16310"/>
                  <a:pt x="13389" y="17242"/>
                  <a:pt x="13465" y="18238"/>
                </a:cubicBezTo>
                <a:cubicBezTo>
                  <a:pt x="13708" y="15552"/>
                  <a:pt x="13848" y="18629"/>
                  <a:pt x="14048" y="16838"/>
                </a:cubicBezTo>
                <a:cubicBezTo>
                  <a:pt x="14203" y="21590"/>
                  <a:pt x="14597" y="16504"/>
                  <a:pt x="14805" y="19537"/>
                </a:cubicBezTo>
                <a:lnTo>
                  <a:pt x="14793" y="18418"/>
                </a:lnTo>
                <a:cubicBezTo>
                  <a:pt x="14847" y="17320"/>
                  <a:pt x="14858" y="19058"/>
                  <a:pt x="14898" y="19315"/>
                </a:cubicBezTo>
                <a:cubicBezTo>
                  <a:pt x="14892" y="18446"/>
                  <a:pt x="14840" y="18310"/>
                  <a:pt x="14873" y="17701"/>
                </a:cubicBezTo>
                <a:cubicBezTo>
                  <a:pt x="15330" y="16353"/>
                  <a:pt x="15816" y="19336"/>
                  <a:pt x="16284" y="20346"/>
                </a:cubicBezTo>
                <a:cubicBezTo>
                  <a:pt x="16455" y="20646"/>
                  <a:pt x="16381" y="14557"/>
                  <a:pt x="16597" y="17228"/>
                </a:cubicBezTo>
                <a:lnTo>
                  <a:pt x="16536" y="19305"/>
                </a:lnTo>
                <a:cubicBezTo>
                  <a:pt x="16882" y="16815"/>
                  <a:pt x="17243" y="19391"/>
                  <a:pt x="17581" y="17277"/>
                </a:cubicBezTo>
                <a:cubicBezTo>
                  <a:pt x="17561" y="17757"/>
                  <a:pt x="17560" y="18380"/>
                  <a:pt x="17527" y="18373"/>
                </a:cubicBezTo>
                <a:cubicBezTo>
                  <a:pt x="17599" y="19882"/>
                  <a:pt x="17792" y="18446"/>
                  <a:pt x="17793" y="17213"/>
                </a:cubicBezTo>
                <a:cubicBezTo>
                  <a:pt x="17846" y="17354"/>
                  <a:pt x="17805" y="18328"/>
                  <a:pt x="17837" y="18954"/>
                </a:cubicBezTo>
                <a:cubicBezTo>
                  <a:pt x="17909" y="19844"/>
                  <a:pt x="18017" y="17027"/>
                  <a:pt x="18056" y="18529"/>
                </a:cubicBezTo>
                <a:cubicBezTo>
                  <a:pt x="18060" y="18688"/>
                  <a:pt x="18050" y="18848"/>
                  <a:pt x="18039" y="18972"/>
                </a:cubicBezTo>
                <a:cubicBezTo>
                  <a:pt x="18100" y="18558"/>
                  <a:pt x="18236" y="19156"/>
                  <a:pt x="18195" y="17580"/>
                </a:cubicBezTo>
                <a:cubicBezTo>
                  <a:pt x="18322" y="18410"/>
                  <a:pt x="18438" y="16805"/>
                  <a:pt x="18539" y="17837"/>
                </a:cubicBezTo>
                <a:cubicBezTo>
                  <a:pt x="18605" y="15890"/>
                  <a:pt x="18757" y="18774"/>
                  <a:pt x="18778" y="16020"/>
                </a:cubicBezTo>
                <a:cubicBezTo>
                  <a:pt x="18769" y="18865"/>
                  <a:pt x="19000" y="18315"/>
                  <a:pt x="19081" y="16977"/>
                </a:cubicBezTo>
                <a:cubicBezTo>
                  <a:pt x="19054" y="17837"/>
                  <a:pt x="19151" y="17867"/>
                  <a:pt x="19119" y="19058"/>
                </a:cubicBezTo>
                <a:cubicBezTo>
                  <a:pt x="19211" y="19019"/>
                  <a:pt x="19295" y="18490"/>
                  <a:pt x="19279" y="17029"/>
                </a:cubicBezTo>
                <a:cubicBezTo>
                  <a:pt x="19448" y="20432"/>
                  <a:pt x="19618" y="14290"/>
                  <a:pt x="19713" y="18651"/>
                </a:cubicBezTo>
                <a:cubicBezTo>
                  <a:pt x="19985" y="17123"/>
                  <a:pt x="20237" y="16089"/>
                  <a:pt x="20482" y="15421"/>
                </a:cubicBezTo>
                <a:cubicBezTo>
                  <a:pt x="20473" y="18258"/>
                  <a:pt x="20211" y="15704"/>
                  <a:pt x="20222" y="18682"/>
                </a:cubicBezTo>
                <a:cubicBezTo>
                  <a:pt x="20454" y="17514"/>
                  <a:pt x="20588" y="15079"/>
                  <a:pt x="20819" y="15764"/>
                </a:cubicBezTo>
                <a:cubicBezTo>
                  <a:pt x="20878" y="16151"/>
                  <a:pt x="20785" y="16993"/>
                  <a:pt x="20765" y="17479"/>
                </a:cubicBezTo>
                <a:cubicBezTo>
                  <a:pt x="20989" y="16351"/>
                  <a:pt x="21198" y="17586"/>
                  <a:pt x="21398" y="16288"/>
                </a:cubicBezTo>
                <a:lnTo>
                  <a:pt x="21472" y="12197"/>
                </a:lnTo>
                <a:lnTo>
                  <a:pt x="21600" y="8787"/>
                </a:lnTo>
                <a:cubicBezTo>
                  <a:pt x="21600" y="8787"/>
                  <a:pt x="21600" y="4943"/>
                  <a:pt x="21600" y="4943"/>
                </a:cubicBezTo>
                <a:close/>
                <a:moveTo>
                  <a:pt x="21600" y="4943"/>
                </a:moveTo>
              </a:path>
            </a:pathLst>
          </a:custGeom>
          <a:solidFill>
            <a:srgbClr val="4D4D4D">
              <a:alpha val="21000"/>
            </a:srgbClr>
          </a:solidFill>
          <a:ln>
            <a:noFill/>
          </a:ln>
          <a:extLst>
            <a:ext uri="{91240B29-F687-4f45-9708-019B960494DF}">
              <a14:hiddenLine xmlns:lc="http://schemas.openxmlformats.org/drawingml/2006/lockedCanvas"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87A34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85" name="AutoShape 128">
            <a:extLst>
              <a:ext uri="{FF2B5EF4-FFF2-40B4-BE49-F238E27FC236}">
                <a16:creationId xmlns:a16="http://schemas.microsoft.com/office/drawing/2014/main" id="{2AFF3E5C-6E91-4144-B520-9A64A3513B08}"/>
              </a:ext>
            </a:extLst>
          </p:cNvPr>
          <p:cNvSpPr>
            <a:spLocks/>
          </p:cNvSpPr>
          <p:nvPr/>
        </p:nvSpPr>
        <p:spPr bwMode="auto">
          <a:xfrm rot="5400000" flipV="1">
            <a:off x="-387121" y="3448505"/>
            <a:ext cx="4986190" cy="48146"/>
          </a:xfrm>
          <a:custGeom>
            <a:avLst/>
            <a:gdLst>
              <a:gd name="T0" fmla="*/ 20994 w 21600"/>
              <a:gd name="T1" fmla="*/ 4943 h 20357"/>
              <a:gd name="T2" fmla="*/ 20855 w 21600"/>
              <a:gd name="T3" fmla="*/ 3770 h 20357"/>
              <a:gd name="T4" fmla="*/ 20102 w 21600"/>
              <a:gd name="T5" fmla="*/ 4409 h 20357"/>
              <a:gd name="T6" fmla="*/ 19759 w 21600"/>
              <a:gd name="T7" fmla="*/ 4943 h 20357"/>
              <a:gd name="T8" fmla="*/ 19333 w 21600"/>
              <a:gd name="T9" fmla="*/ 4943 h 20357"/>
              <a:gd name="T10" fmla="*/ 17785 w 21600"/>
              <a:gd name="T11" fmla="*/ 4943 h 20357"/>
              <a:gd name="T12" fmla="*/ 17526 w 21600"/>
              <a:gd name="T13" fmla="*/ 4258 h 20357"/>
              <a:gd name="T14" fmla="*/ 17180 w 21600"/>
              <a:gd name="T15" fmla="*/ 4943 h 20357"/>
              <a:gd name="T16" fmla="*/ 16490 w 21600"/>
              <a:gd name="T17" fmla="*/ 4082 h 20357"/>
              <a:gd name="T18" fmla="*/ 15676 w 21600"/>
              <a:gd name="T19" fmla="*/ 4943 h 20357"/>
              <a:gd name="T20" fmla="*/ 14169 w 21600"/>
              <a:gd name="T21" fmla="*/ 4943 h 20357"/>
              <a:gd name="T22" fmla="*/ 13770 w 21600"/>
              <a:gd name="T23" fmla="*/ 0 h 20357"/>
              <a:gd name="T24" fmla="*/ 13453 w 21600"/>
              <a:gd name="T25" fmla="*/ 807 h 20357"/>
              <a:gd name="T26" fmla="*/ 12290 w 21600"/>
              <a:gd name="T27" fmla="*/ 2543 h 20357"/>
              <a:gd name="T28" fmla="*/ 12027 w 21600"/>
              <a:gd name="T29" fmla="*/ 2411 h 20357"/>
              <a:gd name="T30" fmla="*/ 11202 w 21600"/>
              <a:gd name="T31" fmla="*/ 1124 h 20357"/>
              <a:gd name="T32" fmla="*/ 9507 w 21600"/>
              <a:gd name="T33" fmla="*/ 3379 h 20357"/>
              <a:gd name="T34" fmla="*/ 8471 w 21600"/>
              <a:gd name="T35" fmla="*/ 2301 h 20357"/>
              <a:gd name="T36" fmla="*/ 7871 w 21600"/>
              <a:gd name="T37" fmla="*/ 644 h 20357"/>
              <a:gd name="T38" fmla="*/ 6985 w 21600"/>
              <a:gd name="T39" fmla="*/ 3343 h 20357"/>
              <a:gd name="T40" fmla="*/ 6397 w 21600"/>
              <a:gd name="T41" fmla="*/ 2990 h 20357"/>
              <a:gd name="T42" fmla="*/ 5666 w 21600"/>
              <a:gd name="T43" fmla="*/ 4943 h 20357"/>
              <a:gd name="T44" fmla="*/ 5013 w 21600"/>
              <a:gd name="T45" fmla="*/ 3458 h 20357"/>
              <a:gd name="T46" fmla="*/ 4682 w 21600"/>
              <a:gd name="T47" fmla="*/ 2265 h 20357"/>
              <a:gd name="T48" fmla="*/ 4023 w 21600"/>
              <a:gd name="T49" fmla="*/ 4943 h 20357"/>
              <a:gd name="T50" fmla="*/ 3526 w 21600"/>
              <a:gd name="T51" fmla="*/ 4943 h 20357"/>
              <a:gd name="T52" fmla="*/ 21 w 21600"/>
              <a:gd name="T53" fmla="*/ 8882 h 20357"/>
              <a:gd name="T54" fmla="*/ 1346 w 21600"/>
              <a:gd name="T55" fmla="*/ 15865 h 20357"/>
              <a:gd name="T56" fmla="*/ 2075 w 21600"/>
              <a:gd name="T57" fmla="*/ 18912 h 20357"/>
              <a:gd name="T58" fmla="*/ 2480 w 21600"/>
              <a:gd name="T59" fmla="*/ 18641 h 20357"/>
              <a:gd name="T60" fmla="*/ 2359 w 21600"/>
              <a:gd name="T61" fmla="*/ 16603 h 20357"/>
              <a:gd name="T62" fmla="*/ 3086 w 21600"/>
              <a:gd name="T63" fmla="*/ 15436 h 20357"/>
              <a:gd name="T64" fmla="*/ 3175 w 21600"/>
              <a:gd name="T65" fmla="*/ 12197 h 20357"/>
              <a:gd name="T66" fmla="*/ 3131 w 21600"/>
              <a:gd name="T67" fmla="*/ 15630 h 20357"/>
              <a:gd name="T68" fmla="*/ 3250 w 21600"/>
              <a:gd name="T69" fmla="*/ 18900 h 20357"/>
              <a:gd name="T70" fmla="*/ 4192 w 21600"/>
              <a:gd name="T71" fmla="*/ 15322 h 20357"/>
              <a:gd name="T72" fmla="*/ 4476 w 21600"/>
              <a:gd name="T73" fmla="*/ 15607 h 20357"/>
              <a:gd name="T74" fmla="*/ 5816 w 21600"/>
              <a:gd name="T75" fmla="*/ 18963 h 20357"/>
              <a:gd name="T76" fmla="*/ 6008 w 21600"/>
              <a:gd name="T77" fmla="*/ 18028 h 20357"/>
              <a:gd name="T78" fmla="*/ 6858 w 21600"/>
              <a:gd name="T79" fmla="*/ 15447 h 20357"/>
              <a:gd name="T80" fmla="*/ 8513 w 21600"/>
              <a:gd name="T81" fmla="*/ 15854 h 20357"/>
              <a:gd name="T82" fmla="*/ 8746 w 21600"/>
              <a:gd name="T83" fmla="*/ 17580 h 20357"/>
              <a:gd name="T84" fmla="*/ 9176 w 21600"/>
              <a:gd name="T85" fmla="*/ 18046 h 20357"/>
              <a:gd name="T86" fmla="*/ 9616 w 21600"/>
              <a:gd name="T87" fmla="*/ 19107 h 20357"/>
              <a:gd name="T88" fmla="*/ 10302 w 21600"/>
              <a:gd name="T89" fmla="*/ 15054 h 20357"/>
              <a:gd name="T90" fmla="*/ 10620 w 21600"/>
              <a:gd name="T91" fmla="*/ 18900 h 20357"/>
              <a:gd name="T92" fmla="*/ 11696 w 21600"/>
              <a:gd name="T93" fmla="*/ 17718 h 20357"/>
              <a:gd name="T94" fmla="*/ 12311 w 21600"/>
              <a:gd name="T95" fmla="*/ 14661 h 20357"/>
              <a:gd name="T96" fmla="*/ 13226 w 21600"/>
              <a:gd name="T97" fmla="*/ 17781 h 20357"/>
              <a:gd name="T98" fmla="*/ 14805 w 21600"/>
              <a:gd name="T99" fmla="*/ 19537 h 20357"/>
              <a:gd name="T100" fmla="*/ 16284 w 21600"/>
              <a:gd name="T101" fmla="*/ 20346 h 20357"/>
              <a:gd name="T102" fmla="*/ 17527 w 21600"/>
              <a:gd name="T103" fmla="*/ 18373 h 20357"/>
              <a:gd name="T104" fmla="*/ 18039 w 21600"/>
              <a:gd name="T105" fmla="*/ 18972 h 20357"/>
              <a:gd name="T106" fmla="*/ 19081 w 21600"/>
              <a:gd name="T107" fmla="*/ 16977 h 20357"/>
              <a:gd name="T108" fmla="*/ 20482 w 21600"/>
              <a:gd name="T109" fmla="*/ 15421 h 20357"/>
              <a:gd name="T110" fmla="*/ 21398 w 21600"/>
              <a:gd name="T111" fmla="*/ 16288 h 20357"/>
              <a:gd name="T112" fmla="*/ 21600 w 21600"/>
              <a:gd name="T113" fmla="*/ 4943 h 20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00" h="20357">
                <a:moveTo>
                  <a:pt x="21600" y="4943"/>
                </a:moveTo>
                <a:lnTo>
                  <a:pt x="21064" y="4943"/>
                </a:lnTo>
                <a:cubicBezTo>
                  <a:pt x="21057" y="4930"/>
                  <a:pt x="21050" y="4922"/>
                  <a:pt x="21042" y="4943"/>
                </a:cubicBezTo>
                <a:lnTo>
                  <a:pt x="20994" y="4943"/>
                </a:lnTo>
                <a:cubicBezTo>
                  <a:pt x="20962" y="4169"/>
                  <a:pt x="20997" y="3027"/>
                  <a:pt x="20955" y="2564"/>
                </a:cubicBezTo>
                <a:cubicBezTo>
                  <a:pt x="20829" y="4011"/>
                  <a:pt x="20818" y="1034"/>
                  <a:pt x="20685" y="2230"/>
                </a:cubicBezTo>
                <a:cubicBezTo>
                  <a:pt x="20723" y="3730"/>
                  <a:pt x="20730" y="3363"/>
                  <a:pt x="20636" y="4826"/>
                </a:cubicBezTo>
                <a:lnTo>
                  <a:pt x="20855" y="3770"/>
                </a:lnTo>
                <a:lnTo>
                  <a:pt x="20780" y="4943"/>
                </a:lnTo>
                <a:lnTo>
                  <a:pt x="20584" y="4943"/>
                </a:lnTo>
                <a:lnTo>
                  <a:pt x="20585" y="3435"/>
                </a:lnTo>
                <a:cubicBezTo>
                  <a:pt x="20428" y="1781"/>
                  <a:pt x="20306" y="5342"/>
                  <a:pt x="20102" y="4409"/>
                </a:cubicBezTo>
                <a:lnTo>
                  <a:pt x="20156" y="4943"/>
                </a:lnTo>
                <a:lnTo>
                  <a:pt x="19970" y="4943"/>
                </a:lnTo>
                <a:cubicBezTo>
                  <a:pt x="19958" y="4327"/>
                  <a:pt x="19932" y="3938"/>
                  <a:pt x="19912" y="3392"/>
                </a:cubicBezTo>
                <a:cubicBezTo>
                  <a:pt x="19915" y="4185"/>
                  <a:pt x="19803" y="3557"/>
                  <a:pt x="19759" y="4943"/>
                </a:cubicBezTo>
                <a:lnTo>
                  <a:pt x="19697" y="4943"/>
                </a:lnTo>
                <a:lnTo>
                  <a:pt x="19653" y="4153"/>
                </a:lnTo>
                <a:cubicBezTo>
                  <a:pt x="19592" y="3903"/>
                  <a:pt x="19550" y="4331"/>
                  <a:pt x="19514" y="4943"/>
                </a:cubicBezTo>
                <a:lnTo>
                  <a:pt x="19333" y="4943"/>
                </a:lnTo>
                <a:cubicBezTo>
                  <a:pt x="19341" y="4650"/>
                  <a:pt x="19357" y="4365"/>
                  <a:pt x="19389" y="4073"/>
                </a:cubicBezTo>
                <a:cubicBezTo>
                  <a:pt x="19336" y="4060"/>
                  <a:pt x="19288" y="3833"/>
                  <a:pt x="19287" y="4694"/>
                </a:cubicBezTo>
                <a:cubicBezTo>
                  <a:pt x="19274" y="4357"/>
                  <a:pt x="19245" y="4626"/>
                  <a:pt x="19212" y="4943"/>
                </a:cubicBezTo>
                <a:lnTo>
                  <a:pt x="17785" y="4943"/>
                </a:lnTo>
                <a:cubicBezTo>
                  <a:pt x="17757" y="4296"/>
                  <a:pt x="17710" y="4640"/>
                  <a:pt x="17659" y="4943"/>
                </a:cubicBezTo>
                <a:lnTo>
                  <a:pt x="17528" y="4943"/>
                </a:lnTo>
                <a:cubicBezTo>
                  <a:pt x="17518" y="4833"/>
                  <a:pt x="17509" y="4697"/>
                  <a:pt x="17499" y="4499"/>
                </a:cubicBezTo>
                <a:lnTo>
                  <a:pt x="17526" y="4258"/>
                </a:lnTo>
                <a:cubicBezTo>
                  <a:pt x="17472" y="3360"/>
                  <a:pt x="17401" y="4266"/>
                  <a:pt x="17321" y="4943"/>
                </a:cubicBezTo>
                <a:lnTo>
                  <a:pt x="17183" y="4943"/>
                </a:lnTo>
                <a:cubicBezTo>
                  <a:pt x="17183" y="4928"/>
                  <a:pt x="17183" y="4911"/>
                  <a:pt x="17183" y="4897"/>
                </a:cubicBezTo>
                <a:cubicBezTo>
                  <a:pt x="17182" y="4913"/>
                  <a:pt x="17181" y="4927"/>
                  <a:pt x="17180" y="4943"/>
                </a:cubicBezTo>
                <a:lnTo>
                  <a:pt x="16671" y="4943"/>
                </a:lnTo>
                <a:cubicBezTo>
                  <a:pt x="16630" y="3940"/>
                  <a:pt x="16579" y="4597"/>
                  <a:pt x="16533" y="4943"/>
                </a:cubicBezTo>
                <a:lnTo>
                  <a:pt x="16483" y="4943"/>
                </a:lnTo>
                <a:lnTo>
                  <a:pt x="16490" y="4082"/>
                </a:lnTo>
                <a:cubicBezTo>
                  <a:pt x="16432" y="4188"/>
                  <a:pt x="16394" y="4535"/>
                  <a:pt x="16361" y="4943"/>
                </a:cubicBezTo>
                <a:lnTo>
                  <a:pt x="15826" y="4943"/>
                </a:lnTo>
                <a:cubicBezTo>
                  <a:pt x="15844" y="4759"/>
                  <a:pt x="15860" y="4575"/>
                  <a:pt x="15875" y="4387"/>
                </a:cubicBezTo>
                <a:cubicBezTo>
                  <a:pt x="15829" y="4374"/>
                  <a:pt x="15738" y="4470"/>
                  <a:pt x="15676" y="4943"/>
                </a:cubicBezTo>
                <a:lnTo>
                  <a:pt x="15061" y="4943"/>
                </a:lnTo>
                <a:cubicBezTo>
                  <a:pt x="15012" y="4684"/>
                  <a:pt x="14969" y="4210"/>
                  <a:pt x="14945" y="3246"/>
                </a:cubicBezTo>
                <a:cubicBezTo>
                  <a:pt x="14712" y="5027"/>
                  <a:pt x="14483" y="2488"/>
                  <a:pt x="14212" y="2774"/>
                </a:cubicBezTo>
                <a:cubicBezTo>
                  <a:pt x="14281" y="5487"/>
                  <a:pt x="14208" y="4323"/>
                  <a:pt x="14169" y="4943"/>
                </a:cubicBezTo>
                <a:lnTo>
                  <a:pt x="13913" y="4943"/>
                </a:lnTo>
                <a:lnTo>
                  <a:pt x="13865" y="4361"/>
                </a:lnTo>
                <a:cubicBezTo>
                  <a:pt x="13819" y="3242"/>
                  <a:pt x="13925" y="3513"/>
                  <a:pt x="13919" y="2651"/>
                </a:cubicBezTo>
                <a:cubicBezTo>
                  <a:pt x="13781" y="2356"/>
                  <a:pt x="13861" y="1021"/>
                  <a:pt x="13770" y="0"/>
                </a:cubicBezTo>
                <a:cubicBezTo>
                  <a:pt x="13788" y="1375"/>
                  <a:pt x="13721" y="1969"/>
                  <a:pt x="13643" y="1444"/>
                </a:cubicBezTo>
                <a:lnTo>
                  <a:pt x="13754" y="3218"/>
                </a:lnTo>
                <a:cubicBezTo>
                  <a:pt x="13560" y="5264"/>
                  <a:pt x="13587" y="-10"/>
                  <a:pt x="13392" y="2017"/>
                </a:cubicBezTo>
                <a:lnTo>
                  <a:pt x="13453" y="807"/>
                </a:lnTo>
                <a:cubicBezTo>
                  <a:pt x="13353" y="1521"/>
                  <a:pt x="13084" y="783"/>
                  <a:pt x="12986" y="3872"/>
                </a:cubicBezTo>
                <a:cubicBezTo>
                  <a:pt x="12969" y="3428"/>
                  <a:pt x="12945" y="2376"/>
                  <a:pt x="12989" y="2098"/>
                </a:cubicBezTo>
                <a:cubicBezTo>
                  <a:pt x="12750" y="1635"/>
                  <a:pt x="12458" y="5385"/>
                  <a:pt x="12272" y="3483"/>
                </a:cubicBezTo>
                <a:lnTo>
                  <a:pt x="12290" y="2543"/>
                </a:lnTo>
                <a:cubicBezTo>
                  <a:pt x="12245" y="2815"/>
                  <a:pt x="12212" y="4309"/>
                  <a:pt x="12157" y="3363"/>
                </a:cubicBezTo>
                <a:cubicBezTo>
                  <a:pt x="12159" y="2975"/>
                  <a:pt x="12175" y="2425"/>
                  <a:pt x="12154" y="2370"/>
                </a:cubicBezTo>
                <a:cubicBezTo>
                  <a:pt x="12130" y="2694"/>
                  <a:pt x="12035" y="4017"/>
                  <a:pt x="11976" y="3469"/>
                </a:cubicBezTo>
                <a:lnTo>
                  <a:pt x="12027" y="2411"/>
                </a:lnTo>
                <a:cubicBezTo>
                  <a:pt x="11840" y="1423"/>
                  <a:pt x="11722" y="3680"/>
                  <a:pt x="11582" y="4943"/>
                </a:cubicBezTo>
                <a:lnTo>
                  <a:pt x="11469" y="4943"/>
                </a:lnTo>
                <a:cubicBezTo>
                  <a:pt x="11442" y="2713"/>
                  <a:pt x="11283" y="1925"/>
                  <a:pt x="11199" y="1516"/>
                </a:cubicBezTo>
                <a:lnTo>
                  <a:pt x="11202" y="1124"/>
                </a:lnTo>
                <a:cubicBezTo>
                  <a:pt x="10931" y="783"/>
                  <a:pt x="10741" y="3419"/>
                  <a:pt x="10490" y="4505"/>
                </a:cubicBezTo>
                <a:cubicBezTo>
                  <a:pt x="10334" y="1501"/>
                  <a:pt x="9962" y="3246"/>
                  <a:pt x="9711" y="1562"/>
                </a:cubicBezTo>
                <a:cubicBezTo>
                  <a:pt x="9749" y="2064"/>
                  <a:pt x="9705" y="3719"/>
                  <a:pt x="9660" y="3997"/>
                </a:cubicBezTo>
                <a:cubicBezTo>
                  <a:pt x="9601" y="3435"/>
                  <a:pt x="9497" y="5918"/>
                  <a:pt x="9507" y="3379"/>
                </a:cubicBezTo>
                <a:lnTo>
                  <a:pt x="9528" y="3428"/>
                </a:lnTo>
                <a:cubicBezTo>
                  <a:pt x="9483" y="937"/>
                  <a:pt x="9363" y="1599"/>
                  <a:pt x="9268" y="1531"/>
                </a:cubicBezTo>
                <a:lnTo>
                  <a:pt x="9253" y="4853"/>
                </a:lnTo>
                <a:cubicBezTo>
                  <a:pt x="9006" y="22"/>
                  <a:pt x="8605" y="6627"/>
                  <a:pt x="8471" y="2301"/>
                </a:cubicBezTo>
                <a:cubicBezTo>
                  <a:pt x="8411" y="3131"/>
                  <a:pt x="8337" y="3122"/>
                  <a:pt x="8278" y="3951"/>
                </a:cubicBezTo>
                <a:lnTo>
                  <a:pt x="8281" y="2170"/>
                </a:lnTo>
                <a:cubicBezTo>
                  <a:pt x="8116" y="1716"/>
                  <a:pt x="8034" y="1492"/>
                  <a:pt x="7830" y="1917"/>
                </a:cubicBezTo>
                <a:lnTo>
                  <a:pt x="7871" y="644"/>
                </a:lnTo>
                <a:cubicBezTo>
                  <a:pt x="7786" y="560"/>
                  <a:pt x="7747" y="3413"/>
                  <a:pt x="7690" y="4943"/>
                </a:cubicBezTo>
                <a:lnTo>
                  <a:pt x="7608" y="4943"/>
                </a:lnTo>
                <a:lnTo>
                  <a:pt x="7588" y="3225"/>
                </a:lnTo>
                <a:cubicBezTo>
                  <a:pt x="7387" y="3267"/>
                  <a:pt x="7184" y="933"/>
                  <a:pt x="6985" y="3343"/>
                </a:cubicBezTo>
                <a:cubicBezTo>
                  <a:pt x="6988" y="2955"/>
                  <a:pt x="6994" y="2185"/>
                  <a:pt x="7027" y="2078"/>
                </a:cubicBezTo>
                <a:cubicBezTo>
                  <a:pt x="6935" y="2011"/>
                  <a:pt x="6679" y="390"/>
                  <a:pt x="6693" y="3587"/>
                </a:cubicBezTo>
                <a:cubicBezTo>
                  <a:pt x="6671" y="1786"/>
                  <a:pt x="6482" y="3751"/>
                  <a:pt x="6380" y="4742"/>
                </a:cubicBezTo>
                <a:lnTo>
                  <a:pt x="6397" y="2990"/>
                </a:lnTo>
                <a:cubicBezTo>
                  <a:pt x="6361" y="3851"/>
                  <a:pt x="6339" y="4470"/>
                  <a:pt x="6318" y="4943"/>
                </a:cubicBezTo>
                <a:lnTo>
                  <a:pt x="5669" y="4943"/>
                </a:lnTo>
                <a:cubicBezTo>
                  <a:pt x="5668" y="4914"/>
                  <a:pt x="5668" y="4886"/>
                  <a:pt x="5667" y="4857"/>
                </a:cubicBezTo>
                <a:cubicBezTo>
                  <a:pt x="5667" y="4885"/>
                  <a:pt x="5666" y="4915"/>
                  <a:pt x="5666" y="4943"/>
                </a:cubicBezTo>
                <a:lnTo>
                  <a:pt x="5401" y="4943"/>
                </a:lnTo>
                <a:cubicBezTo>
                  <a:pt x="5396" y="3417"/>
                  <a:pt x="5292" y="3095"/>
                  <a:pt x="5378" y="913"/>
                </a:cubicBezTo>
                <a:cubicBezTo>
                  <a:pt x="5289" y="2130"/>
                  <a:pt x="5136" y="4777"/>
                  <a:pt x="5027" y="4017"/>
                </a:cubicBezTo>
                <a:cubicBezTo>
                  <a:pt x="5022" y="3861"/>
                  <a:pt x="5017" y="3707"/>
                  <a:pt x="5013" y="3458"/>
                </a:cubicBezTo>
                <a:lnTo>
                  <a:pt x="5024" y="3277"/>
                </a:lnTo>
                <a:cubicBezTo>
                  <a:pt x="4999" y="3116"/>
                  <a:pt x="4977" y="3267"/>
                  <a:pt x="4956" y="3538"/>
                </a:cubicBezTo>
                <a:cubicBezTo>
                  <a:pt x="4921" y="3273"/>
                  <a:pt x="4899" y="3076"/>
                  <a:pt x="4866" y="3052"/>
                </a:cubicBezTo>
                <a:cubicBezTo>
                  <a:pt x="4853" y="1716"/>
                  <a:pt x="4738" y="2331"/>
                  <a:pt x="4682" y="2265"/>
                </a:cubicBezTo>
                <a:cubicBezTo>
                  <a:pt x="4686" y="3918"/>
                  <a:pt x="4623" y="3779"/>
                  <a:pt x="4671" y="4943"/>
                </a:cubicBezTo>
                <a:lnTo>
                  <a:pt x="4496" y="4943"/>
                </a:lnTo>
                <a:cubicBezTo>
                  <a:pt x="4457" y="4256"/>
                  <a:pt x="4425" y="3637"/>
                  <a:pt x="4416" y="2985"/>
                </a:cubicBezTo>
                <a:cubicBezTo>
                  <a:pt x="4293" y="3702"/>
                  <a:pt x="4139" y="3731"/>
                  <a:pt x="4023" y="4943"/>
                </a:cubicBezTo>
                <a:lnTo>
                  <a:pt x="3901" y="4943"/>
                </a:lnTo>
                <a:cubicBezTo>
                  <a:pt x="3905" y="4884"/>
                  <a:pt x="3909" y="4817"/>
                  <a:pt x="3912" y="4727"/>
                </a:cubicBezTo>
                <a:cubicBezTo>
                  <a:pt x="3902" y="4812"/>
                  <a:pt x="3891" y="4881"/>
                  <a:pt x="3880" y="4943"/>
                </a:cubicBezTo>
                <a:lnTo>
                  <a:pt x="3526" y="4943"/>
                </a:lnTo>
                <a:lnTo>
                  <a:pt x="3527" y="4912"/>
                </a:lnTo>
                <a:cubicBezTo>
                  <a:pt x="3402" y="3504"/>
                  <a:pt x="3295" y="4022"/>
                  <a:pt x="3190" y="4943"/>
                </a:cubicBezTo>
                <a:lnTo>
                  <a:pt x="0" y="4943"/>
                </a:lnTo>
                <a:lnTo>
                  <a:pt x="21" y="8882"/>
                </a:lnTo>
                <a:lnTo>
                  <a:pt x="29" y="8882"/>
                </a:lnTo>
                <a:lnTo>
                  <a:pt x="29" y="14010"/>
                </a:lnTo>
                <a:cubicBezTo>
                  <a:pt x="32" y="14222"/>
                  <a:pt x="69" y="13664"/>
                  <a:pt x="68" y="14013"/>
                </a:cubicBezTo>
                <a:cubicBezTo>
                  <a:pt x="88" y="13349"/>
                  <a:pt x="1288" y="15980"/>
                  <a:pt x="1346" y="15865"/>
                </a:cubicBezTo>
                <a:cubicBezTo>
                  <a:pt x="1239" y="19183"/>
                  <a:pt x="1563" y="16060"/>
                  <a:pt x="1535" y="19618"/>
                </a:cubicBezTo>
                <a:cubicBezTo>
                  <a:pt x="1614" y="16634"/>
                  <a:pt x="1819" y="18292"/>
                  <a:pt x="1959" y="16637"/>
                </a:cubicBezTo>
                <a:cubicBezTo>
                  <a:pt x="1951" y="16874"/>
                  <a:pt x="1936" y="17354"/>
                  <a:pt x="1923" y="17202"/>
                </a:cubicBezTo>
                <a:cubicBezTo>
                  <a:pt x="2002" y="17450"/>
                  <a:pt x="2025" y="18349"/>
                  <a:pt x="2075" y="18912"/>
                </a:cubicBezTo>
                <a:cubicBezTo>
                  <a:pt x="2085" y="16449"/>
                  <a:pt x="2207" y="15885"/>
                  <a:pt x="2273" y="14365"/>
                </a:cubicBezTo>
                <a:cubicBezTo>
                  <a:pt x="2369" y="16743"/>
                  <a:pt x="2215" y="17257"/>
                  <a:pt x="2245" y="19542"/>
                </a:cubicBezTo>
                <a:cubicBezTo>
                  <a:pt x="2240" y="17545"/>
                  <a:pt x="2412" y="17549"/>
                  <a:pt x="2379" y="15885"/>
                </a:cubicBezTo>
                <a:cubicBezTo>
                  <a:pt x="2453" y="17356"/>
                  <a:pt x="2442" y="16599"/>
                  <a:pt x="2480" y="18641"/>
                </a:cubicBezTo>
                <a:cubicBezTo>
                  <a:pt x="2493" y="15559"/>
                  <a:pt x="2549" y="18120"/>
                  <a:pt x="2610" y="16227"/>
                </a:cubicBezTo>
                <a:cubicBezTo>
                  <a:pt x="2716" y="17746"/>
                  <a:pt x="2209" y="19114"/>
                  <a:pt x="2326" y="18175"/>
                </a:cubicBezTo>
                <a:cubicBezTo>
                  <a:pt x="2382" y="19120"/>
                  <a:pt x="2278" y="20212"/>
                  <a:pt x="2278" y="20212"/>
                </a:cubicBezTo>
                <a:cubicBezTo>
                  <a:pt x="2397" y="20262"/>
                  <a:pt x="2334" y="17938"/>
                  <a:pt x="2359" y="16603"/>
                </a:cubicBezTo>
                <a:cubicBezTo>
                  <a:pt x="2501" y="15945"/>
                  <a:pt x="2425" y="18315"/>
                  <a:pt x="2473" y="19502"/>
                </a:cubicBezTo>
                <a:cubicBezTo>
                  <a:pt x="2562" y="18888"/>
                  <a:pt x="2630" y="16755"/>
                  <a:pt x="2696" y="16846"/>
                </a:cubicBezTo>
                <a:cubicBezTo>
                  <a:pt x="2701" y="17228"/>
                  <a:pt x="2713" y="17368"/>
                  <a:pt x="2698" y="17847"/>
                </a:cubicBezTo>
                <a:cubicBezTo>
                  <a:pt x="2792" y="16000"/>
                  <a:pt x="2977" y="17757"/>
                  <a:pt x="3086" y="15436"/>
                </a:cubicBezTo>
                <a:cubicBezTo>
                  <a:pt x="3094" y="15642"/>
                  <a:pt x="3098" y="15837"/>
                  <a:pt x="3100" y="16012"/>
                </a:cubicBezTo>
                <a:cubicBezTo>
                  <a:pt x="3082" y="14849"/>
                  <a:pt x="3080" y="13666"/>
                  <a:pt x="3083" y="12825"/>
                </a:cubicBezTo>
                <a:cubicBezTo>
                  <a:pt x="3116" y="12801"/>
                  <a:pt x="3145" y="12279"/>
                  <a:pt x="3167" y="12197"/>
                </a:cubicBezTo>
                <a:lnTo>
                  <a:pt x="3175" y="12197"/>
                </a:lnTo>
                <a:cubicBezTo>
                  <a:pt x="3186" y="12212"/>
                  <a:pt x="3196" y="12376"/>
                  <a:pt x="3202" y="12876"/>
                </a:cubicBezTo>
                <a:cubicBezTo>
                  <a:pt x="3170" y="12832"/>
                  <a:pt x="3167" y="13444"/>
                  <a:pt x="3152" y="13918"/>
                </a:cubicBezTo>
                <a:lnTo>
                  <a:pt x="3208" y="13258"/>
                </a:lnTo>
                <a:cubicBezTo>
                  <a:pt x="3258" y="15441"/>
                  <a:pt x="3131" y="14014"/>
                  <a:pt x="3131" y="15630"/>
                </a:cubicBezTo>
                <a:cubicBezTo>
                  <a:pt x="3240" y="14919"/>
                  <a:pt x="3367" y="13113"/>
                  <a:pt x="3451" y="13729"/>
                </a:cubicBezTo>
                <a:cubicBezTo>
                  <a:pt x="3468" y="15865"/>
                  <a:pt x="3255" y="14448"/>
                  <a:pt x="3367" y="16347"/>
                </a:cubicBezTo>
                <a:lnTo>
                  <a:pt x="3238" y="15532"/>
                </a:lnTo>
                <a:cubicBezTo>
                  <a:pt x="3336" y="18900"/>
                  <a:pt x="3159" y="15295"/>
                  <a:pt x="3250" y="18900"/>
                </a:cubicBezTo>
                <a:cubicBezTo>
                  <a:pt x="3420" y="19519"/>
                  <a:pt x="3440" y="17812"/>
                  <a:pt x="3610" y="18435"/>
                </a:cubicBezTo>
                <a:cubicBezTo>
                  <a:pt x="3648" y="17248"/>
                  <a:pt x="3597" y="16679"/>
                  <a:pt x="3635" y="15492"/>
                </a:cubicBezTo>
                <a:cubicBezTo>
                  <a:pt x="3876" y="13360"/>
                  <a:pt x="3825" y="20863"/>
                  <a:pt x="4002" y="18017"/>
                </a:cubicBezTo>
                <a:cubicBezTo>
                  <a:pt x="4048" y="16594"/>
                  <a:pt x="4066" y="13892"/>
                  <a:pt x="4192" y="15322"/>
                </a:cubicBezTo>
                <a:lnTo>
                  <a:pt x="4149" y="17736"/>
                </a:lnTo>
                <a:cubicBezTo>
                  <a:pt x="4314" y="17974"/>
                  <a:pt x="4243" y="14265"/>
                  <a:pt x="4416" y="15890"/>
                </a:cubicBezTo>
                <a:cubicBezTo>
                  <a:pt x="4385" y="16838"/>
                  <a:pt x="4286" y="16689"/>
                  <a:pt x="4311" y="16977"/>
                </a:cubicBezTo>
                <a:cubicBezTo>
                  <a:pt x="4423" y="18884"/>
                  <a:pt x="4390" y="15607"/>
                  <a:pt x="4476" y="15607"/>
                </a:cubicBezTo>
                <a:lnTo>
                  <a:pt x="4494" y="17746"/>
                </a:lnTo>
                <a:cubicBezTo>
                  <a:pt x="4669" y="17409"/>
                  <a:pt x="4862" y="15865"/>
                  <a:pt x="5056" y="15475"/>
                </a:cubicBezTo>
                <a:cubicBezTo>
                  <a:pt x="5045" y="16111"/>
                  <a:pt x="5012" y="16780"/>
                  <a:pt x="5058" y="17434"/>
                </a:cubicBezTo>
                <a:cubicBezTo>
                  <a:pt x="5302" y="16366"/>
                  <a:pt x="5580" y="17695"/>
                  <a:pt x="5816" y="18963"/>
                </a:cubicBezTo>
                <a:lnTo>
                  <a:pt x="5907" y="17118"/>
                </a:lnTo>
                <a:cubicBezTo>
                  <a:pt x="5928" y="17139"/>
                  <a:pt x="5946" y="17951"/>
                  <a:pt x="5923" y="18310"/>
                </a:cubicBezTo>
                <a:cubicBezTo>
                  <a:pt x="6015" y="19009"/>
                  <a:pt x="5928" y="17139"/>
                  <a:pt x="5972" y="16413"/>
                </a:cubicBezTo>
                <a:cubicBezTo>
                  <a:pt x="6024" y="16284"/>
                  <a:pt x="6041" y="17474"/>
                  <a:pt x="6008" y="18028"/>
                </a:cubicBezTo>
                <a:cubicBezTo>
                  <a:pt x="6170" y="16464"/>
                  <a:pt x="6470" y="14657"/>
                  <a:pt x="6642" y="16634"/>
                </a:cubicBezTo>
                <a:lnTo>
                  <a:pt x="6608" y="17182"/>
                </a:lnTo>
                <a:cubicBezTo>
                  <a:pt x="6741" y="17931"/>
                  <a:pt x="6759" y="13399"/>
                  <a:pt x="6882" y="15120"/>
                </a:cubicBezTo>
                <a:lnTo>
                  <a:pt x="6858" y="15447"/>
                </a:lnTo>
                <a:cubicBezTo>
                  <a:pt x="7148" y="16247"/>
                  <a:pt x="7467" y="14557"/>
                  <a:pt x="7688" y="17343"/>
                </a:cubicBezTo>
                <a:cubicBezTo>
                  <a:pt x="7730" y="14685"/>
                  <a:pt x="7974" y="18529"/>
                  <a:pt x="7993" y="14821"/>
                </a:cubicBezTo>
                <a:cubicBezTo>
                  <a:pt x="8158" y="16659"/>
                  <a:pt x="8111" y="17320"/>
                  <a:pt x="8343" y="18556"/>
                </a:cubicBezTo>
                <a:cubicBezTo>
                  <a:pt x="8405" y="18727"/>
                  <a:pt x="8436" y="16241"/>
                  <a:pt x="8513" y="15854"/>
                </a:cubicBezTo>
                <a:lnTo>
                  <a:pt x="8514" y="17793"/>
                </a:lnTo>
                <a:lnTo>
                  <a:pt x="8619" y="15759"/>
                </a:lnTo>
                <a:lnTo>
                  <a:pt x="8674" y="18077"/>
                </a:lnTo>
                <a:lnTo>
                  <a:pt x="8746" y="17580"/>
                </a:lnTo>
                <a:cubicBezTo>
                  <a:pt x="8717" y="17466"/>
                  <a:pt x="8685" y="16710"/>
                  <a:pt x="8690" y="16151"/>
                </a:cubicBezTo>
                <a:cubicBezTo>
                  <a:pt x="8802" y="15274"/>
                  <a:pt x="8964" y="17502"/>
                  <a:pt x="8967" y="18495"/>
                </a:cubicBezTo>
                <a:lnTo>
                  <a:pt x="9233" y="16855"/>
                </a:lnTo>
                <a:cubicBezTo>
                  <a:pt x="9228" y="17433"/>
                  <a:pt x="9203" y="17729"/>
                  <a:pt x="9176" y="18046"/>
                </a:cubicBezTo>
                <a:cubicBezTo>
                  <a:pt x="9272" y="17015"/>
                  <a:pt x="9183" y="20301"/>
                  <a:pt x="9303" y="18629"/>
                </a:cubicBezTo>
                <a:cubicBezTo>
                  <a:pt x="9286" y="18189"/>
                  <a:pt x="9312" y="17474"/>
                  <a:pt x="9315" y="17082"/>
                </a:cubicBezTo>
                <a:cubicBezTo>
                  <a:pt x="9380" y="18254"/>
                  <a:pt x="9528" y="18265"/>
                  <a:pt x="9637" y="17772"/>
                </a:cubicBezTo>
                <a:lnTo>
                  <a:pt x="9616" y="19107"/>
                </a:lnTo>
                <a:cubicBezTo>
                  <a:pt x="9814" y="19447"/>
                  <a:pt x="10033" y="18466"/>
                  <a:pt x="10254" y="18490"/>
                </a:cubicBezTo>
                <a:cubicBezTo>
                  <a:pt x="10175" y="17867"/>
                  <a:pt x="10193" y="15552"/>
                  <a:pt x="10258" y="15329"/>
                </a:cubicBezTo>
                <a:lnTo>
                  <a:pt x="10284" y="17379"/>
                </a:lnTo>
                <a:cubicBezTo>
                  <a:pt x="10326" y="16111"/>
                  <a:pt x="10216" y="16603"/>
                  <a:pt x="10302" y="15054"/>
                </a:cubicBezTo>
                <a:cubicBezTo>
                  <a:pt x="10385" y="15291"/>
                  <a:pt x="10358" y="17384"/>
                  <a:pt x="10310" y="18050"/>
                </a:cubicBezTo>
                <a:lnTo>
                  <a:pt x="10411" y="17339"/>
                </a:lnTo>
                <a:cubicBezTo>
                  <a:pt x="10417" y="17951"/>
                  <a:pt x="10393" y="18274"/>
                  <a:pt x="10387" y="19054"/>
                </a:cubicBezTo>
                <a:cubicBezTo>
                  <a:pt x="10428" y="17781"/>
                  <a:pt x="10561" y="21109"/>
                  <a:pt x="10620" y="18900"/>
                </a:cubicBezTo>
                <a:lnTo>
                  <a:pt x="10626" y="19510"/>
                </a:lnTo>
                <a:cubicBezTo>
                  <a:pt x="10848" y="19527"/>
                  <a:pt x="10948" y="18822"/>
                  <a:pt x="11128" y="18719"/>
                </a:cubicBezTo>
                <a:cubicBezTo>
                  <a:pt x="11132" y="16950"/>
                  <a:pt x="11202" y="17343"/>
                  <a:pt x="11256" y="15914"/>
                </a:cubicBezTo>
                <a:cubicBezTo>
                  <a:pt x="11389" y="16478"/>
                  <a:pt x="11536" y="17867"/>
                  <a:pt x="11696" y="17718"/>
                </a:cubicBezTo>
                <a:cubicBezTo>
                  <a:pt x="11808" y="16838"/>
                  <a:pt x="11729" y="16221"/>
                  <a:pt x="11779" y="15170"/>
                </a:cubicBezTo>
                <a:cubicBezTo>
                  <a:pt x="11787" y="16780"/>
                  <a:pt x="11947" y="16630"/>
                  <a:pt x="11864" y="17786"/>
                </a:cubicBezTo>
                <a:cubicBezTo>
                  <a:pt x="12056" y="17525"/>
                  <a:pt x="12109" y="17466"/>
                  <a:pt x="12352" y="16158"/>
                </a:cubicBezTo>
                <a:cubicBezTo>
                  <a:pt x="12325" y="15497"/>
                  <a:pt x="12296" y="15211"/>
                  <a:pt x="12311" y="14661"/>
                </a:cubicBezTo>
                <a:cubicBezTo>
                  <a:pt x="12355" y="14396"/>
                  <a:pt x="12411" y="15337"/>
                  <a:pt x="12405" y="16111"/>
                </a:cubicBezTo>
                <a:lnTo>
                  <a:pt x="12393" y="16276"/>
                </a:lnTo>
                <a:cubicBezTo>
                  <a:pt x="12665" y="13863"/>
                  <a:pt x="13021" y="20973"/>
                  <a:pt x="13238" y="17615"/>
                </a:cubicBezTo>
                <a:lnTo>
                  <a:pt x="13226" y="17781"/>
                </a:lnTo>
                <a:lnTo>
                  <a:pt x="13451" y="16031"/>
                </a:lnTo>
                <a:cubicBezTo>
                  <a:pt x="13554" y="16310"/>
                  <a:pt x="13389" y="17242"/>
                  <a:pt x="13465" y="18238"/>
                </a:cubicBezTo>
                <a:cubicBezTo>
                  <a:pt x="13708" y="15552"/>
                  <a:pt x="13848" y="18629"/>
                  <a:pt x="14048" y="16838"/>
                </a:cubicBezTo>
                <a:cubicBezTo>
                  <a:pt x="14203" y="21590"/>
                  <a:pt x="14597" y="16504"/>
                  <a:pt x="14805" y="19537"/>
                </a:cubicBezTo>
                <a:lnTo>
                  <a:pt x="14793" y="18418"/>
                </a:lnTo>
                <a:cubicBezTo>
                  <a:pt x="14847" y="17320"/>
                  <a:pt x="14858" y="19058"/>
                  <a:pt x="14898" y="19315"/>
                </a:cubicBezTo>
                <a:cubicBezTo>
                  <a:pt x="14892" y="18446"/>
                  <a:pt x="14840" y="18310"/>
                  <a:pt x="14873" y="17701"/>
                </a:cubicBezTo>
                <a:cubicBezTo>
                  <a:pt x="15330" y="16353"/>
                  <a:pt x="15816" y="19336"/>
                  <a:pt x="16284" y="20346"/>
                </a:cubicBezTo>
                <a:cubicBezTo>
                  <a:pt x="16455" y="20646"/>
                  <a:pt x="16381" y="14557"/>
                  <a:pt x="16597" y="17228"/>
                </a:cubicBezTo>
                <a:lnTo>
                  <a:pt x="16536" y="19305"/>
                </a:lnTo>
                <a:cubicBezTo>
                  <a:pt x="16882" y="16815"/>
                  <a:pt x="17243" y="19391"/>
                  <a:pt x="17581" y="17277"/>
                </a:cubicBezTo>
                <a:cubicBezTo>
                  <a:pt x="17561" y="17757"/>
                  <a:pt x="17560" y="18380"/>
                  <a:pt x="17527" y="18373"/>
                </a:cubicBezTo>
                <a:cubicBezTo>
                  <a:pt x="17599" y="19882"/>
                  <a:pt x="17792" y="18446"/>
                  <a:pt x="17793" y="17213"/>
                </a:cubicBezTo>
                <a:cubicBezTo>
                  <a:pt x="17846" y="17354"/>
                  <a:pt x="17805" y="18328"/>
                  <a:pt x="17837" y="18954"/>
                </a:cubicBezTo>
                <a:cubicBezTo>
                  <a:pt x="17909" y="19844"/>
                  <a:pt x="18017" y="17027"/>
                  <a:pt x="18056" y="18529"/>
                </a:cubicBezTo>
                <a:cubicBezTo>
                  <a:pt x="18060" y="18688"/>
                  <a:pt x="18050" y="18848"/>
                  <a:pt x="18039" y="18972"/>
                </a:cubicBezTo>
                <a:cubicBezTo>
                  <a:pt x="18100" y="18558"/>
                  <a:pt x="18236" y="19156"/>
                  <a:pt x="18195" y="17580"/>
                </a:cubicBezTo>
                <a:cubicBezTo>
                  <a:pt x="18322" y="18410"/>
                  <a:pt x="18438" y="16805"/>
                  <a:pt x="18539" y="17837"/>
                </a:cubicBezTo>
                <a:cubicBezTo>
                  <a:pt x="18605" y="15890"/>
                  <a:pt x="18757" y="18774"/>
                  <a:pt x="18778" y="16020"/>
                </a:cubicBezTo>
                <a:cubicBezTo>
                  <a:pt x="18769" y="18865"/>
                  <a:pt x="19000" y="18315"/>
                  <a:pt x="19081" y="16977"/>
                </a:cubicBezTo>
                <a:cubicBezTo>
                  <a:pt x="19054" y="17837"/>
                  <a:pt x="19151" y="17867"/>
                  <a:pt x="19119" y="19058"/>
                </a:cubicBezTo>
                <a:cubicBezTo>
                  <a:pt x="19211" y="19019"/>
                  <a:pt x="19295" y="18490"/>
                  <a:pt x="19279" y="17029"/>
                </a:cubicBezTo>
                <a:cubicBezTo>
                  <a:pt x="19448" y="20432"/>
                  <a:pt x="19618" y="14290"/>
                  <a:pt x="19713" y="18651"/>
                </a:cubicBezTo>
                <a:cubicBezTo>
                  <a:pt x="19985" y="17123"/>
                  <a:pt x="20237" y="16089"/>
                  <a:pt x="20482" y="15421"/>
                </a:cubicBezTo>
                <a:cubicBezTo>
                  <a:pt x="20473" y="18258"/>
                  <a:pt x="20211" y="15704"/>
                  <a:pt x="20222" y="18682"/>
                </a:cubicBezTo>
                <a:cubicBezTo>
                  <a:pt x="20454" y="17514"/>
                  <a:pt x="20588" y="15079"/>
                  <a:pt x="20819" y="15764"/>
                </a:cubicBezTo>
                <a:cubicBezTo>
                  <a:pt x="20878" y="16151"/>
                  <a:pt x="20785" y="16993"/>
                  <a:pt x="20765" y="17479"/>
                </a:cubicBezTo>
                <a:cubicBezTo>
                  <a:pt x="20989" y="16351"/>
                  <a:pt x="21198" y="17586"/>
                  <a:pt x="21398" y="16288"/>
                </a:cubicBezTo>
                <a:lnTo>
                  <a:pt x="21472" y="12197"/>
                </a:lnTo>
                <a:lnTo>
                  <a:pt x="21600" y="8787"/>
                </a:lnTo>
                <a:cubicBezTo>
                  <a:pt x="21600" y="8787"/>
                  <a:pt x="21600" y="4943"/>
                  <a:pt x="21600" y="4943"/>
                </a:cubicBezTo>
                <a:close/>
                <a:moveTo>
                  <a:pt x="21600" y="4943"/>
                </a:moveTo>
              </a:path>
            </a:pathLst>
          </a:custGeom>
          <a:solidFill>
            <a:srgbClr val="4D4D4D">
              <a:alpha val="21000"/>
            </a:srgbClr>
          </a:solidFill>
          <a:ln>
            <a:noFill/>
          </a:ln>
          <a:extLst>
            <a:ext uri="{91240B29-F687-4f45-9708-019B960494DF}">
              <a14:hiddenLine xmlns:lc="http://schemas.openxmlformats.org/drawingml/2006/lockedCanvas"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87A34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86" name="AutoShape 128">
            <a:extLst>
              <a:ext uri="{FF2B5EF4-FFF2-40B4-BE49-F238E27FC236}">
                <a16:creationId xmlns:a16="http://schemas.microsoft.com/office/drawing/2014/main" id="{8B3C1A26-FA01-4C56-935E-DF389D9ECA48}"/>
              </a:ext>
            </a:extLst>
          </p:cNvPr>
          <p:cNvSpPr>
            <a:spLocks/>
          </p:cNvSpPr>
          <p:nvPr/>
        </p:nvSpPr>
        <p:spPr bwMode="auto">
          <a:xfrm flipV="1">
            <a:off x="251091" y="1054203"/>
            <a:ext cx="11888815" cy="50681"/>
          </a:xfrm>
          <a:custGeom>
            <a:avLst/>
            <a:gdLst>
              <a:gd name="T0" fmla="*/ 20994 w 21600"/>
              <a:gd name="T1" fmla="*/ 4943 h 20357"/>
              <a:gd name="T2" fmla="*/ 20855 w 21600"/>
              <a:gd name="T3" fmla="*/ 3770 h 20357"/>
              <a:gd name="T4" fmla="*/ 20102 w 21600"/>
              <a:gd name="T5" fmla="*/ 4409 h 20357"/>
              <a:gd name="T6" fmla="*/ 19759 w 21600"/>
              <a:gd name="T7" fmla="*/ 4943 h 20357"/>
              <a:gd name="T8" fmla="*/ 19333 w 21600"/>
              <a:gd name="T9" fmla="*/ 4943 h 20357"/>
              <a:gd name="T10" fmla="*/ 17785 w 21600"/>
              <a:gd name="T11" fmla="*/ 4943 h 20357"/>
              <a:gd name="T12" fmla="*/ 17526 w 21600"/>
              <a:gd name="T13" fmla="*/ 4258 h 20357"/>
              <a:gd name="T14" fmla="*/ 17180 w 21600"/>
              <a:gd name="T15" fmla="*/ 4943 h 20357"/>
              <a:gd name="T16" fmla="*/ 16490 w 21600"/>
              <a:gd name="T17" fmla="*/ 4082 h 20357"/>
              <a:gd name="T18" fmla="*/ 15676 w 21600"/>
              <a:gd name="T19" fmla="*/ 4943 h 20357"/>
              <a:gd name="T20" fmla="*/ 14169 w 21600"/>
              <a:gd name="T21" fmla="*/ 4943 h 20357"/>
              <a:gd name="T22" fmla="*/ 13770 w 21600"/>
              <a:gd name="T23" fmla="*/ 0 h 20357"/>
              <a:gd name="T24" fmla="*/ 13453 w 21600"/>
              <a:gd name="T25" fmla="*/ 807 h 20357"/>
              <a:gd name="T26" fmla="*/ 12290 w 21600"/>
              <a:gd name="T27" fmla="*/ 2543 h 20357"/>
              <a:gd name="T28" fmla="*/ 12027 w 21600"/>
              <a:gd name="T29" fmla="*/ 2411 h 20357"/>
              <a:gd name="T30" fmla="*/ 11202 w 21600"/>
              <a:gd name="T31" fmla="*/ 1124 h 20357"/>
              <a:gd name="T32" fmla="*/ 9507 w 21600"/>
              <a:gd name="T33" fmla="*/ 3379 h 20357"/>
              <a:gd name="T34" fmla="*/ 8471 w 21600"/>
              <a:gd name="T35" fmla="*/ 2301 h 20357"/>
              <a:gd name="T36" fmla="*/ 7871 w 21600"/>
              <a:gd name="T37" fmla="*/ 644 h 20357"/>
              <a:gd name="T38" fmla="*/ 6985 w 21600"/>
              <a:gd name="T39" fmla="*/ 3343 h 20357"/>
              <a:gd name="T40" fmla="*/ 6397 w 21600"/>
              <a:gd name="T41" fmla="*/ 2990 h 20357"/>
              <a:gd name="T42" fmla="*/ 5666 w 21600"/>
              <a:gd name="T43" fmla="*/ 4943 h 20357"/>
              <a:gd name="T44" fmla="*/ 5013 w 21600"/>
              <a:gd name="T45" fmla="*/ 3458 h 20357"/>
              <a:gd name="T46" fmla="*/ 4682 w 21600"/>
              <a:gd name="T47" fmla="*/ 2265 h 20357"/>
              <a:gd name="T48" fmla="*/ 4023 w 21600"/>
              <a:gd name="T49" fmla="*/ 4943 h 20357"/>
              <a:gd name="T50" fmla="*/ 3526 w 21600"/>
              <a:gd name="T51" fmla="*/ 4943 h 20357"/>
              <a:gd name="T52" fmla="*/ 21 w 21600"/>
              <a:gd name="T53" fmla="*/ 8882 h 20357"/>
              <a:gd name="T54" fmla="*/ 1346 w 21600"/>
              <a:gd name="T55" fmla="*/ 15865 h 20357"/>
              <a:gd name="T56" fmla="*/ 2075 w 21600"/>
              <a:gd name="T57" fmla="*/ 18912 h 20357"/>
              <a:gd name="T58" fmla="*/ 2480 w 21600"/>
              <a:gd name="T59" fmla="*/ 18641 h 20357"/>
              <a:gd name="T60" fmla="*/ 2359 w 21600"/>
              <a:gd name="T61" fmla="*/ 16603 h 20357"/>
              <a:gd name="T62" fmla="*/ 3086 w 21600"/>
              <a:gd name="T63" fmla="*/ 15436 h 20357"/>
              <a:gd name="T64" fmla="*/ 3175 w 21600"/>
              <a:gd name="T65" fmla="*/ 12197 h 20357"/>
              <a:gd name="T66" fmla="*/ 3131 w 21600"/>
              <a:gd name="T67" fmla="*/ 15630 h 20357"/>
              <a:gd name="T68" fmla="*/ 3250 w 21600"/>
              <a:gd name="T69" fmla="*/ 18900 h 20357"/>
              <a:gd name="T70" fmla="*/ 4192 w 21600"/>
              <a:gd name="T71" fmla="*/ 15322 h 20357"/>
              <a:gd name="T72" fmla="*/ 4476 w 21600"/>
              <a:gd name="T73" fmla="*/ 15607 h 20357"/>
              <a:gd name="T74" fmla="*/ 5816 w 21600"/>
              <a:gd name="T75" fmla="*/ 18963 h 20357"/>
              <a:gd name="T76" fmla="*/ 6008 w 21600"/>
              <a:gd name="T77" fmla="*/ 18028 h 20357"/>
              <a:gd name="T78" fmla="*/ 6858 w 21600"/>
              <a:gd name="T79" fmla="*/ 15447 h 20357"/>
              <a:gd name="T80" fmla="*/ 8513 w 21600"/>
              <a:gd name="T81" fmla="*/ 15854 h 20357"/>
              <a:gd name="T82" fmla="*/ 8746 w 21600"/>
              <a:gd name="T83" fmla="*/ 17580 h 20357"/>
              <a:gd name="T84" fmla="*/ 9176 w 21600"/>
              <a:gd name="T85" fmla="*/ 18046 h 20357"/>
              <a:gd name="T86" fmla="*/ 9616 w 21600"/>
              <a:gd name="T87" fmla="*/ 19107 h 20357"/>
              <a:gd name="T88" fmla="*/ 10302 w 21600"/>
              <a:gd name="T89" fmla="*/ 15054 h 20357"/>
              <a:gd name="T90" fmla="*/ 10620 w 21600"/>
              <a:gd name="T91" fmla="*/ 18900 h 20357"/>
              <a:gd name="T92" fmla="*/ 11696 w 21600"/>
              <a:gd name="T93" fmla="*/ 17718 h 20357"/>
              <a:gd name="T94" fmla="*/ 12311 w 21600"/>
              <a:gd name="T95" fmla="*/ 14661 h 20357"/>
              <a:gd name="T96" fmla="*/ 13226 w 21600"/>
              <a:gd name="T97" fmla="*/ 17781 h 20357"/>
              <a:gd name="T98" fmla="*/ 14805 w 21600"/>
              <a:gd name="T99" fmla="*/ 19537 h 20357"/>
              <a:gd name="T100" fmla="*/ 16284 w 21600"/>
              <a:gd name="T101" fmla="*/ 20346 h 20357"/>
              <a:gd name="T102" fmla="*/ 17527 w 21600"/>
              <a:gd name="T103" fmla="*/ 18373 h 20357"/>
              <a:gd name="T104" fmla="*/ 18039 w 21600"/>
              <a:gd name="T105" fmla="*/ 18972 h 20357"/>
              <a:gd name="T106" fmla="*/ 19081 w 21600"/>
              <a:gd name="T107" fmla="*/ 16977 h 20357"/>
              <a:gd name="T108" fmla="*/ 20482 w 21600"/>
              <a:gd name="T109" fmla="*/ 15421 h 20357"/>
              <a:gd name="T110" fmla="*/ 21398 w 21600"/>
              <a:gd name="T111" fmla="*/ 16288 h 20357"/>
              <a:gd name="T112" fmla="*/ 21600 w 21600"/>
              <a:gd name="T113" fmla="*/ 4943 h 20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00" h="20357">
                <a:moveTo>
                  <a:pt x="21600" y="4943"/>
                </a:moveTo>
                <a:lnTo>
                  <a:pt x="21064" y="4943"/>
                </a:lnTo>
                <a:cubicBezTo>
                  <a:pt x="21057" y="4930"/>
                  <a:pt x="21050" y="4922"/>
                  <a:pt x="21042" y="4943"/>
                </a:cubicBezTo>
                <a:lnTo>
                  <a:pt x="20994" y="4943"/>
                </a:lnTo>
                <a:cubicBezTo>
                  <a:pt x="20962" y="4169"/>
                  <a:pt x="20997" y="3027"/>
                  <a:pt x="20955" y="2564"/>
                </a:cubicBezTo>
                <a:cubicBezTo>
                  <a:pt x="20829" y="4011"/>
                  <a:pt x="20818" y="1034"/>
                  <a:pt x="20685" y="2230"/>
                </a:cubicBezTo>
                <a:cubicBezTo>
                  <a:pt x="20723" y="3730"/>
                  <a:pt x="20730" y="3363"/>
                  <a:pt x="20636" y="4826"/>
                </a:cubicBezTo>
                <a:lnTo>
                  <a:pt x="20855" y="3770"/>
                </a:lnTo>
                <a:lnTo>
                  <a:pt x="20780" y="4943"/>
                </a:lnTo>
                <a:lnTo>
                  <a:pt x="20584" y="4943"/>
                </a:lnTo>
                <a:lnTo>
                  <a:pt x="20585" y="3435"/>
                </a:lnTo>
                <a:cubicBezTo>
                  <a:pt x="20428" y="1781"/>
                  <a:pt x="20306" y="5342"/>
                  <a:pt x="20102" y="4409"/>
                </a:cubicBezTo>
                <a:lnTo>
                  <a:pt x="20156" y="4943"/>
                </a:lnTo>
                <a:lnTo>
                  <a:pt x="19970" y="4943"/>
                </a:lnTo>
                <a:cubicBezTo>
                  <a:pt x="19958" y="4327"/>
                  <a:pt x="19932" y="3938"/>
                  <a:pt x="19912" y="3392"/>
                </a:cubicBezTo>
                <a:cubicBezTo>
                  <a:pt x="19915" y="4185"/>
                  <a:pt x="19803" y="3557"/>
                  <a:pt x="19759" y="4943"/>
                </a:cubicBezTo>
                <a:lnTo>
                  <a:pt x="19697" y="4943"/>
                </a:lnTo>
                <a:lnTo>
                  <a:pt x="19653" y="4153"/>
                </a:lnTo>
                <a:cubicBezTo>
                  <a:pt x="19592" y="3903"/>
                  <a:pt x="19550" y="4331"/>
                  <a:pt x="19514" y="4943"/>
                </a:cubicBezTo>
                <a:lnTo>
                  <a:pt x="19333" y="4943"/>
                </a:lnTo>
                <a:cubicBezTo>
                  <a:pt x="19341" y="4650"/>
                  <a:pt x="19357" y="4365"/>
                  <a:pt x="19389" y="4073"/>
                </a:cubicBezTo>
                <a:cubicBezTo>
                  <a:pt x="19336" y="4060"/>
                  <a:pt x="19288" y="3833"/>
                  <a:pt x="19287" y="4694"/>
                </a:cubicBezTo>
                <a:cubicBezTo>
                  <a:pt x="19274" y="4357"/>
                  <a:pt x="19245" y="4626"/>
                  <a:pt x="19212" y="4943"/>
                </a:cubicBezTo>
                <a:lnTo>
                  <a:pt x="17785" y="4943"/>
                </a:lnTo>
                <a:cubicBezTo>
                  <a:pt x="17757" y="4296"/>
                  <a:pt x="17710" y="4640"/>
                  <a:pt x="17659" y="4943"/>
                </a:cubicBezTo>
                <a:lnTo>
                  <a:pt x="17528" y="4943"/>
                </a:lnTo>
                <a:cubicBezTo>
                  <a:pt x="17518" y="4833"/>
                  <a:pt x="17509" y="4697"/>
                  <a:pt x="17499" y="4499"/>
                </a:cubicBezTo>
                <a:lnTo>
                  <a:pt x="17526" y="4258"/>
                </a:lnTo>
                <a:cubicBezTo>
                  <a:pt x="17472" y="3360"/>
                  <a:pt x="17401" y="4266"/>
                  <a:pt x="17321" y="4943"/>
                </a:cubicBezTo>
                <a:lnTo>
                  <a:pt x="17183" y="4943"/>
                </a:lnTo>
                <a:cubicBezTo>
                  <a:pt x="17183" y="4928"/>
                  <a:pt x="17183" y="4911"/>
                  <a:pt x="17183" y="4897"/>
                </a:cubicBezTo>
                <a:cubicBezTo>
                  <a:pt x="17182" y="4913"/>
                  <a:pt x="17181" y="4927"/>
                  <a:pt x="17180" y="4943"/>
                </a:cubicBezTo>
                <a:lnTo>
                  <a:pt x="16671" y="4943"/>
                </a:lnTo>
                <a:cubicBezTo>
                  <a:pt x="16630" y="3940"/>
                  <a:pt x="16579" y="4597"/>
                  <a:pt x="16533" y="4943"/>
                </a:cubicBezTo>
                <a:lnTo>
                  <a:pt x="16483" y="4943"/>
                </a:lnTo>
                <a:lnTo>
                  <a:pt x="16490" y="4082"/>
                </a:lnTo>
                <a:cubicBezTo>
                  <a:pt x="16432" y="4188"/>
                  <a:pt x="16394" y="4535"/>
                  <a:pt x="16361" y="4943"/>
                </a:cubicBezTo>
                <a:lnTo>
                  <a:pt x="15826" y="4943"/>
                </a:lnTo>
                <a:cubicBezTo>
                  <a:pt x="15844" y="4759"/>
                  <a:pt x="15860" y="4575"/>
                  <a:pt x="15875" y="4387"/>
                </a:cubicBezTo>
                <a:cubicBezTo>
                  <a:pt x="15829" y="4374"/>
                  <a:pt x="15738" y="4470"/>
                  <a:pt x="15676" y="4943"/>
                </a:cubicBezTo>
                <a:lnTo>
                  <a:pt x="15061" y="4943"/>
                </a:lnTo>
                <a:cubicBezTo>
                  <a:pt x="15012" y="4684"/>
                  <a:pt x="14969" y="4210"/>
                  <a:pt x="14945" y="3246"/>
                </a:cubicBezTo>
                <a:cubicBezTo>
                  <a:pt x="14712" y="5027"/>
                  <a:pt x="14483" y="2488"/>
                  <a:pt x="14212" y="2774"/>
                </a:cubicBezTo>
                <a:cubicBezTo>
                  <a:pt x="14281" y="5487"/>
                  <a:pt x="14208" y="4323"/>
                  <a:pt x="14169" y="4943"/>
                </a:cubicBezTo>
                <a:lnTo>
                  <a:pt x="13913" y="4943"/>
                </a:lnTo>
                <a:lnTo>
                  <a:pt x="13865" y="4361"/>
                </a:lnTo>
                <a:cubicBezTo>
                  <a:pt x="13819" y="3242"/>
                  <a:pt x="13925" y="3513"/>
                  <a:pt x="13919" y="2651"/>
                </a:cubicBezTo>
                <a:cubicBezTo>
                  <a:pt x="13781" y="2356"/>
                  <a:pt x="13861" y="1021"/>
                  <a:pt x="13770" y="0"/>
                </a:cubicBezTo>
                <a:cubicBezTo>
                  <a:pt x="13788" y="1375"/>
                  <a:pt x="13721" y="1969"/>
                  <a:pt x="13643" y="1444"/>
                </a:cubicBezTo>
                <a:lnTo>
                  <a:pt x="13754" y="3218"/>
                </a:lnTo>
                <a:cubicBezTo>
                  <a:pt x="13560" y="5264"/>
                  <a:pt x="13587" y="-10"/>
                  <a:pt x="13392" y="2017"/>
                </a:cubicBezTo>
                <a:lnTo>
                  <a:pt x="13453" y="807"/>
                </a:lnTo>
                <a:cubicBezTo>
                  <a:pt x="13353" y="1521"/>
                  <a:pt x="13084" y="783"/>
                  <a:pt x="12986" y="3872"/>
                </a:cubicBezTo>
                <a:cubicBezTo>
                  <a:pt x="12969" y="3428"/>
                  <a:pt x="12945" y="2376"/>
                  <a:pt x="12989" y="2098"/>
                </a:cubicBezTo>
                <a:cubicBezTo>
                  <a:pt x="12750" y="1635"/>
                  <a:pt x="12458" y="5385"/>
                  <a:pt x="12272" y="3483"/>
                </a:cubicBezTo>
                <a:lnTo>
                  <a:pt x="12290" y="2543"/>
                </a:lnTo>
                <a:cubicBezTo>
                  <a:pt x="12245" y="2815"/>
                  <a:pt x="12212" y="4309"/>
                  <a:pt x="12157" y="3363"/>
                </a:cubicBezTo>
                <a:cubicBezTo>
                  <a:pt x="12159" y="2975"/>
                  <a:pt x="12175" y="2425"/>
                  <a:pt x="12154" y="2370"/>
                </a:cubicBezTo>
                <a:cubicBezTo>
                  <a:pt x="12130" y="2694"/>
                  <a:pt x="12035" y="4017"/>
                  <a:pt x="11976" y="3469"/>
                </a:cubicBezTo>
                <a:lnTo>
                  <a:pt x="12027" y="2411"/>
                </a:lnTo>
                <a:cubicBezTo>
                  <a:pt x="11840" y="1423"/>
                  <a:pt x="11722" y="3680"/>
                  <a:pt x="11582" y="4943"/>
                </a:cubicBezTo>
                <a:lnTo>
                  <a:pt x="11469" y="4943"/>
                </a:lnTo>
                <a:cubicBezTo>
                  <a:pt x="11442" y="2713"/>
                  <a:pt x="11283" y="1925"/>
                  <a:pt x="11199" y="1516"/>
                </a:cubicBezTo>
                <a:lnTo>
                  <a:pt x="11202" y="1124"/>
                </a:lnTo>
                <a:cubicBezTo>
                  <a:pt x="10931" y="783"/>
                  <a:pt x="10741" y="3419"/>
                  <a:pt x="10490" y="4505"/>
                </a:cubicBezTo>
                <a:cubicBezTo>
                  <a:pt x="10334" y="1501"/>
                  <a:pt x="9962" y="3246"/>
                  <a:pt x="9711" y="1562"/>
                </a:cubicBezTo>
                <a:cubicBezTo>
                  <a:pt x="9749" y="2064"/>
                  <a:pt x="9705" y="3719"/>
                  <a:pt x="9660" y="3997"/>
                </a:cubicBezTo>
                <a:cubicBezTo>
                  <a:pt x="9601" y="3435"/>
                  <a:pt x="9497" y="5918"/>
                  <a:pt x="9507" y="3379"/>
                </a:cubicBezTo>
                <a:lnTo>
                  <a:pt x="9528" y="3428"/>
                </a:lnTo>
                <a:cubicBezTo>
                  <a:pt x="9483" y="937"/>
                  <a:pt x="9363" y="1599"/>
                  <a:pt x="9268" y="1531"/>
                </a:cubicBezTo>
                <a:lnTo>
                  <a:pt x="9253" y="4853"/>
                </a:lnTo>
                <a:cubicBezTo>
                  <a:pt x="9006" y="22"/>
                  <a:pt x="8605" y="6627"/>
                  <a:pt x="8471" y="2301"/>
                </a:cubicBezTo>
                <a:cubicBezTo>
                  <a:pt x="8411" y="3131"/>
                  <a:pt x="8337" y="3122"/>
                  <a:pt x="8278" y="3951"/>
                </a:cubicBezTo>
                <a:lnTo>
                  <a:pt x="8281" y="2170"/>
                </a:lnTo>
                <a:cubicBezTo>
                  <a:pt x="8116" y="1716"/>
                  <a:pt x="8034" y="1492"/>
                  <a:pt x="7830" y="1917"/>
                </a:cubicBezTo>
                <a:lnTo>
                  <a:pt x="7871" y="644"/>
                </a:lnTo>
                <a:cubicBezTo>
                  <a:pt x="7786" y="560"/>
                  <a:pt x="7747" y="3413"/>
                  <a:pt x="7690" y="4943"/>
                </a:cubicBezTo>
                <a:lnTo>
                  <a:pt x="7608" y="4943"/>
                </a:lnTo>
                <a:lnTo>
                  <a:pt x="7588" y="3225"/>
                </a:lnTo>
                <a:cubicBezTo>
                  <a:pt x="7387" y="3267"/>
                  <a:pt x="7184" y="933"/>
                  <a:pt x="6985" y="3343"/>
                </a:cubicBezTo>
                <a:cubicBezTo>
                  <a:pt x="6988" y="2955"/>
                  <a:pt x="6994" y="2185"/>
                  <a:pt x="7027" y="2078"/>
                </a:cubicBezTo>
                <a:cubicBezTo>
                  <a:pt x="6935" y="2011"/>
                  <a:pt x="6679" y="390"/>
                  <a:pt x="6693" y="3587"/>
                </a:cubicBezTo>
                <a:cubicBezTo>
                  <a:pt x="6671" y="1786"/>
                  <a:pt x="6482" y="3751"/>
                  <a:pt x="6380" y="4742"/>
                </a:cubicBezTo>
                <a:lnTo>
                  <a:pt x="6397" y="2990"/>
                </a:lnTo>
                <a:cubicBezTo>
                  <a:pt x="6361" y="3851"/>
                  <a:pt x="6339" y="4470"/>
                  <a:pt x="6318" y="4943"/>
                </a:cubicBezTo>
                <a:lnTo>
                  <a:pt x="5669" y="4943"/>
                </a:lnTo>
                <a:cubicBezTo>
                  <a:pt x="5668" y="4914"/>
                  <a:pt x="5668" y="4886"/>
                  <a:pt x="5667" y="4857"/>
                </a:cubicBezTo>
                <a:cubicBezTo>
                  <a:pt x="5667" y="4885"/>
                  <a:pt x="5666" y="4915"/>
                  <a:pt x="5666" y="4943"/>
                </a:cubicBezTo>
                <a:lnTo>
                  <a:pt x="5401" y="4943"/>
                </a:lnTo>
                <a:cubicBezTo>
                  <a:pt x="5396" y="3417"/>
                  <a:pt x="5292" y="3095"/>
                  <a:pt x="5378" y="913"/>
                </a:cubicBezTo>
                <a:cubicBezTo>
                  <a:pt x="5289" y="2130"/>
                  <a:pt x="5136" y="4777"/>
                  <a:pt x="5027" y="4017"/>
                </a:cubicBezTo>
                <a:cubicBezTo>
                  <a:pt x="5022" y="3861"/>
                  <a:pt x="5017" y="3707"/>
                  <a:pt x="5013" y="3458"/>
                </a:cubicBezTo>
                <a:lnTo>
                  <a:pt x="5024" y="3277"/>
                </a:lnTo>
                <a:cubicBezTo>
                  <a:pt x="4999" y="3116"/>
                  <a:pt x="4977" y="3267"/>
                  <a:pt x="4956" y="3538"/>
                </a:cubicBezTo>
                <a:cubicBezTo>
                  <a:pt x="4921" y="3273"/>
                  <a:pt x="4899" y="3076"/>
                  <a:pt x="4866" y="3052"/>
                </a:cubicBezTo>
                <a:cubicBezTo>
                  <a:pt x="4853" y="1716"/>
                  <a:pt x="4738" y="2331"/>
                  <a:pt x="4682" y="2265"/>
                </a:cubicBezTo>
                <a:cubicBezTo>
                  <a:pt x="4686" y="3918"/>
                  <a:pt x="4623" y="3779"/>
                  <a:pt x="4671" y="4943"/>
                </a:cubicBezTo>
                <a:lnTo>
                  <a:pt x="4496" y="4943"/>
                </a:lnTo>
                <a:cubicBezTo>
                  <a:pt x="4457" y="4256"/>
                  <a:pt x="4425" y="3637"/>
                  <a:pt x="4416" y="2985"/>
                </a:cubicBezTo>
                <a:cubicBezTo>
                  <a:pt x="4293" y="3702"/>
                  <a:pt x="4139" y="3731"/>
                  <a:pt x="4023" y="4943"/>
                </a:cubicBezTo>
                <a:lnTo>
                  <a:pt x="3901" y="4943"/>
                </a:lnTo>
                <a:cubicBezTo>
                  <a:pt x="3905" y="4884"/>
                  <a:pt x="3909" y="4817"/>
                  <a:pt x="3912" y="4727"/>
                </a:cubicBezTo>
                <a:cubicBezTo>
                  <a:pt x="3902" y="4812"/>
                  <a:pt x="3891" y="4881"/>
                  <a:pt x="3880" y="4943"/>
                </a:cubicBezTo>
                <a:lnTo>
                  <a:pt x="3526" y="4943"/>
                </a:lnTo>
                <a:lnTo>
                  <a:pt x="3527" y="4912"/>
                </a:lnTo>
                <a:cubicBezTo>
                  <a:pt x="3402" y="3504"/>
                  <a:pt x="3295" y="4022"/>
                  <a:pt x="3190" y="4943"/>
                </a:cubicBezTo>
                <a:lnTo>
                  <a:pt x="0" y="4943"/>
                </a:lnTo>
                <a:lnTo>
                  <a:pt x="21" y="8882"/>
                </a:lnTo>
                <a:lnTo>
                  <a:pt x="29" y="8882"/>
                </a:lnTo>
                <a:lnTo>
                  <a:pt x="29" y="14010"/>
                </a:lnTo>
                <a:cubicBezTo>
                  <a:pt x="32" y="14222"/>
                  <a:pt x="69" y="13664"/>
                  <a:pt x="68" y="14013"/>
                </a:cubicBezTo>
                <a:cubicBezTo>
                  <a:pt x="88" y="13349"/>
                  <a:pt x="1288" y="15980"/>
                  <a:pt x="1346" y="15865"/>
                </a:cubicBezTo>
                <a:cubicBezTo>
                  <a:pt x="1239" y="19183"/>
                  <a:pt x="1563" y="16060"/>
                  <a:pt x="1535" y="19618"/>
                </a:cubicBezTo>
                <a:cubicBezTo>
                  <a:pt x="1614" y="16634"/>
                  <a:pt x="1819" y="18292"/>
                  <a:pt x="1959" y="16637"/>
                </a:cubicBezTo>
                <a:cubicBezTo>
                  <a:pt x="1951" y="16874"/>
                  <a:pt x="1936" y="17354"/>
                  <a:pt x="1923" y="17202"/>
                </a:cubicBezTo>
                <a:cubicBezTo>
                  <a:pt x="2002" y="17450"/>
                  <a:pt x="2025" y="18349"/>
                  <a:pt x="2075" y="18912"/>
                </a:cubicBezTo>
                <a:cubicBezTo>
                  <a:pt x="2085" y="16449"/>
                  <a:pt x="2207" y="15885"/>
                  <a:pt x="2273" y="14365"/>
                </a:cubicBezTo>
                <a:cubicBezTo>
                  <a:pt x="2369" y="16743"/>
                  <a:pt x="2215" y="17257"/>
                  <a:pt x="2245" y="19542"/>
                </a:cubicBezTo>
                <a:cubicBezTo>
                  <a:pt x="2240" y="17545"/>
                  <a:pt x="2412" y="17549"/>
                  <a:pt x="2379" y="15885"/>
                </a:cubicBezTo>
                <a:cubicBezTo>
                  <a:pt x="2453" y="17356"/>
                  <a:pt x="2442" y="16599"/>
                  <a:pt x="2480" y="18641"/>
                </a:cubicBezTo>
                <a:cubicBezTo>
                  <a:pt x="2493" y="15559"/>
                  <a:pt x="2549" y="18120"/>
                  <a:pt x="2610" y="16227"/>
                </a:cubicBezTo>
                <a:cubicBezTo>
                  <a:pt x="2716" y="17746"/>
                  <a:pt x="2209" y="19114"/>
                  <a:pt x="2326" y="18175"/>
                </a:cubicBezTo>
                <a:cubicBezTo>
                  <a:pt x="2382" y="19120"/>
                  <a:pt x="2278" y="20212"/>
                  <a:pt x="2278" y="20212"/>
                </a:cubicBezTo>
                <a:cubicBezTo>
                  <a:pt x="2397" y="20262"/>
                  <a:pt x="2334" y="17938"/>
                  <a:pt x="2359" y="16603"/>
                </a:cubicBezTo>
                <a:cubicBezTo>
                  <a:pt x="2501" y="15945"/>
                  <a:pt x="2425" y="18315"/>
                  <a:pt x="2473" y="19502"/>
                </a:cubicBezTo>
                <a:cubicBezTo>
                  <a:pt x="2562" y="18888"/>
                  <a:pt x="2630" y="16755"/>
                  <a:pt x="2696" y="16846"/>
                </a:cubicBezTo>
                <a:cubicBezTo>
                  <a:pt x="2701" y="17228"/>
                  <a:pt x="2713" y="17368"/>
                  <a:pt x="2698" y="17847"/>
                </a:cubicBezTo>
                <a:cubicBezTo>
                  <a:pt x="2792" y="16000"/>
                  <a:pt x="2977" y="17757"/>
                  <a:pt x="3086" y="15436"/>
                </a:cubicBezTo>
                <a:cubicBezTo>
                  <a:pt x="3094" y="15642"/>
                  <a:pt x="3098" y="15837"/>
                  <a:pt x="3100" y="16012"/>
                </a:cubicBezTo>
                <a:cubicBezTo>
                  <a:pt x="3082" y="14849"/>
                  <a:pt x="3080" y="13666"/>
                  <a:pt x="3083" y="12825"/>
                </a:cubicBezTo>
                <a:cubicBezTo>
                  <a:pt x="3116" y="12801"/>
                  <a:pt x="3145" y="12279"/>
                  <a:pt x="3167" y="12197"/>
                </a:cubicBezTo>
                <a:lnTo>
                  <a:pt x="3175" y="12197"/>
                </a:lnTo>
                <a:cubicBezTo>
                  <a:pt x="3186" y="12212"/>
                  <a:pt x="3196" y="12376"/>
                  <a:pt x="3202" y="12876"/>
                </a:cubicBezTo>
                <a:cubicBezTo>
                  <a:pt x="3170" y="12832"/>
                  <a:pt x="3167" y="13444"/>
                  <a:pt x="3152" y="13918"/>
                </a:cubicBezTo>
                <a:lnTo>
                  <a:pt x="3208" y="13258"/>
                </a:lnTo>
                <a:cubicBezTo>
                  <a:pt x="3258" y="15441"/>
                  <a:pt x="3131" y="14014"/>
                  <a:pt x="3131" y="15630"/>
                </a:cubicBezTo>
                <a:cubicBezTo>
                  <a:pt x="3240" y="14919"/>
                  <a:pt x="3367" y="13113"/>
                  <a:pt x="3451" y="13729"/>
                </a:cubicBezTo>
                <a:cubicBezTo>
                  <a:pt x="3468" y="15865"/>
                  <a:pt x="3255" y="14448"/>
                  <a:pt x="3367" y="16347"/>
                </a:cubicBezTo>
                <a:lnTo>
                  <a:pt x="3238" y="15532"/>
                </a:lnTo>
                <a:cubicBezTo>
                  <a:pt x="3336" y="18900"/>
                  <a:pt x="3159" y="15295"/>
                  <a:pt x="3250" y="18900"/>
                </a:cubicBezTo>
                <a:cubicBezTo>
                  <a:pt x="3420" y="19519"/>
                  <a:pt x="3440" y="17812"/>
                  <a:pt x="3610" y="18435"/>
                </a:cubicBezTo>
                <a:cubicBezTo>
                  <a:pt x="3648" y="17248"/>
                  <a:pt x="3597" y="16679"/>
                  <a:pt x="3635" y="15492"/>
                </a:cubicBezTo>
                <a:cubicBezTo>
                  <a:pt x="3876" y="13360"/>
                  <a:pt x="3825" y="20863"/>
                  <a:pt x="4002" y="18017"/>
                </a:cubicBezTo>
                <a:cubicBezTo>
                  <a:pt x="4048" y="16594"/>
                  <a:pt x="4066" y="13892"/>
                  <a:pt x="4192" y="15322"/>
                </a:cubicBezTo>
                <a:lnTo>
                  <a:pt x="4149" y="17736"/>
                </a:lnTo>
                <a:cubicBezTo>
                  <a:pt x="4314" y="17974"/>
                  <a:pt x="4243" y="14265"/>
                  <a:pt x="4416" y="15890"/>
                </a:cubicBezTo>
                <a:cubicBezTo>
                  <a:pt x="4385" y="16838"/>
                  <a:pt x="4286" y="16689"/>
                  <a:pt x="4311" y="16977"/>
                </a:cubicBezTo>
                <a:cubicBezTo>
                  <a:pt x="4423" y="18884"/>
                  <a:pt x="4390" y="15607"/>
                  <a:pt x="4476" y="15607"/>
                </a:cubicBezTo>
                <a:lnTo>
                  <a:pt x="4494" y="17746"/>
                </a:lnTo>
                <a:cubicBezTo>
                  <a:pt x="4669" y="17409"/>
                  <a:pt x="4862" y="15865"/>
                  <a:pt x="5056" y="15475"/>
                </a:cubicBezTo>
                <a:cubicBezTo>
                  <a:pt x="5045" y="16111"/>
                  <a:pt x="5012" y="16780"/>
                  <a:pt x="5058" y="17434"/>
                </a:cubicBezTo>
                <a:cubicBezTo>
                  <a:pt x="5302" y="16366"/>
                  <a:pt x="5580" y="17695"/>
                  <a:pt x="5816" y="18963"/>
                </a:cubicBezTo>
                <a:lnTo>
                  <a:pt x="5907" y="17118"/>
                </a:lnTo>
                <a:cubicBezTo>
                  <a:pt x="5928" y="17139"/>
                  <a:pt x="5946" y="17951"/>
                  <a:pt x="5923" y="18310"/>
                </a:cubicBezTo>
                <a:cubicBezTo>
                  <a:pt x="6015" y="19009"/>
                  <a:pt x="5928" y="17139"/>
                  <a:pt x="5972" y="16413"/>
                </a:cubicBezTo>
                <a:cubicBezTo>
                  <a:pt x="6024" y="16284"/>
                  <a:pt x="6041" y="17474"/>
                  <a:pt x="6008" y="18028"/>
                </a:cubicBezTo>
                <a:cubicBezTo>
                  <a:pt x="6170" y="16464"/>
                  <a:pt x="6470" y="14657"/>
                  <a:pt x="6642" y="16634"/>
                </a:cubicBezTo>
                <a:lnTo>
                  <a:pt x="6608" y="17182"/>
                </a:lnTo>
                <a:cubicBezTo>
                  <a:pt x="6741" y="17931"/>
                  <a:pt x="6759" y="13399"/>
                  <a:pt x="6882" y="15120"/>
                </a:cubicBezTo>
                <a:lnTo>
                  <a:pt x="6858" y="15447"/>
                </a:lnTo>
                <a:cubicBezTo>
                  <a:pt x="7148" y="16247"/>
                  <a:pt x="7467" y="14557"/>
                  <a:pt x="7688" y="17343"/>
                </a:cubicBezTo>
                <a:cubicBezTo>
                  <a:pt x="7730" y="14685"/>
                  <a:pt x="7974" y="18529"/>
                  <a:pt x="7993" y="14821"/>
                </a:cubicBezTo>
                <a:cubicBezTo>
                  <a:pt x="8158" y="16659"/>
                  <a:pt x="8111" y="17320"/>
                  <a:pt x="8343" y="18556"/>
                </a:cubicBezTo>
                <a:cubicBezTo>
                  <a:pt x="8405" y="18727"/>
                  <a:pt x="8436" y="16241"/>
                  <a:pt x="8513" y="15854"/>
                </a:cubicBezTo>
                <a:lnTo>
                  <a:pt x="8514" y="17793"/>
                </a:lnTo>
                <a:lnTo>
                  <a:pt x="8619" y="15759"/>
                </a:lnTo>
                <a:lnTo>
                  <a:pt x="8674" y="18077"/>
                </a:lnTo>
                <a:lnTo>
                  <a:pt x="8746" y="17580"/>
                </a:lnTo>
                <a:cubicBezTo>
                  <a:pt x="8717" y="17466"/>
                  <a:pt x="8685" y="16710"/>
                  <a:pt x="8690" y="16151"/>
                </a:cubicBezTo>
                <a:cubicBezTo>
                  <a:pt x="8802" y="15274"/>
                  <a:pt x="8964" y="17502"/>
                  <a:pt x="8967" y="18495"/>
                </a:cubicBezTo>
                <a:lnTo>
                  <a:pt x="9233" y="16855"/>
                </a:lnTo>
                <a:cubicBezTo>
                  <a:pt x="9228" y="17433"/>
                  <a:pt x="9203" y="17729"/>
                  <a:pt x="9176" y="18046"/>
                </a:cubicBezTo>
                <a:cubicBezTo>
                  <a:pt x="9272" y="17015"/>
                  <a:pt x="9183" y="20301"/>
                  <a:pt x="9303" y="18629"/>
                </a:cubicBezTo>
                <a:cubicBezTo>
                  <a:pt x="9286" y="18189"/>
                  <a:pt x="9312" y="17474"/>
                  <a:pt x="9315" y="17082"/>
                </a:cubicBezTo>
                <a:cubicBezTo>
                  <a:pt x="9380" y="18254"/>
                  <a:pt x="9528" y="18265"/>
                  <a:pt x="9637" y="17772"/>
                </a:cubicBezTo>
                <a:lnTo>
                  <a:pt x="9616" y="19107"/>
                </a:lnTo>
                <a:cubicBezTo>
                  <a:pt x="9814" y="19447"/>
                  <a:pt x="10033" y="18466"/>
                  <a:pt x="10254" y="18490"/>
                </a:cubicBezTo>
                <a:cubicBezTo>
                  <a:pt x="10175" y="17867"/>
                  <a:pt x="10193" y="15552"/>
                  <a:pt x="10258" y="15329"/>
                </a:cubicBezTo>
                <a:lnTo>
                  <a:pt x="10284" y="17379"/>
                </a:lnTo>
                <a:cubicBezTo>
                  <a:pt x="10326" y="16111"/>
                  <a:pt x="10216" y="16603"/>
                  <a:pt x="10302" y="15054"/>
                </a:cubicBezTo>
                <a:cubicBezTo>
                  <a:pt x="10385" y="15291"/>
                  <a:pt x="10358" y="17384"/>
                  <a:pt x="10310" y="18050"/>
                </a:cubicBezTo>
                <a:lnTo>
                  <a:pt x="10411" y="17339"/>
                </a:lnTo>
                <a:cubicBezTo>
                  <a:pt x="10417" y="17951"/>
                  <a:pt x="10393" y="18274"/>
                  <a:pt x="10387" y="19054"/>
                </a:cubicBezTo>
                <a:cubicBezTo>
                  <a:pt x="10428" y="17781"/>
                  <a:pt x="10561" y="21109"/>
                  <a:pt x="10620" y="18900"/>
                </a:cubicBezTo>
                <a:lnTo>
                  <a:pt x="10626" y="19510"/>
                </a:lnTo>
                <a:cubicBezTo>
                  <a:pt x="10848" y="19527"/>
                  <a:pt x="10948" y="18822"/>
                  <a:pt x="11128" y="18719"/>
                </a:cubicBezTo>
                <a:cubicBezTo>
                  <a:pt x="11132" y="16950"/>
                  <a:pt x="11202" y="17343"/>
                  <a:pt x="11256" y="15914"/>
                </a:cubicBezTo>
                <a:cubicBezTo>
                  <a:pt x="11389" y="16478"/>
                  <a:pt x="11536" y="17867"/>
                  <a:pt x="11696" y="17718"/>
                </a:cubicBezTo>
                <a:cubicBezTo>
                  <a:pt x="11808" y="16838"/>
                  <a:pt x="11729" y="16221"/>
                  <a:pt x="11779" y="15170"/>
                </a:cubicBezTo>
                <a:cubicBezTo>
                  <a:pt x="11787" y="16780"/>
                  <a:pt x="11947" y="16630"/>
                  <a:pt x="11864" y="17786"/>
                </a:cubicBezTo>
                <a:cubicBezTo>
                  <a:pt x="12056" y="17525"/>
                  <a:pt x="12109" y="17466"/>
                  <a:pt x="12352" y="16158"/>
                </a:cubicBezTo>
                <a:cubicBezTo>
                  <a:pt x="12325" y="15497"/>
                  <a:pt x="12296" y="15211"/>
                  <a:pt x="12311" y="14661"/>
                </a:cubicBezTo>
                <a:cubicBezTo>
                  <a:pt x="12355" y="14396"/>
                  <a:pt x="12411" y="15337"/>
                  <a:pt x="12405" y="16111"/>
                </a:cubicBezTo>
                <a:lnTo>
                  <a:pt x="12393" y="16276"/>
                </a:lnTo>
                <a:cubicBezTo>
                  <a:pt x="12665" y="13863"/>
                  <a:pt x="13021" y="20973"/>
                  <a:pt x="13238" y="17615"/>
                </a:cubicBezTo>
                <a:lnTo>
                  <a:pt x="13226" y="17781"/>
                </a:lnTo>
                <a:lnTo>
                  <a:pt x="13451" y="16031"/>
                </a:lnTo>
                <a:cubicBezTo>
                  <a:pt x="13554" y="16310"/>
                  <a:pt x="13389" y="17242"/>
                  <a:pt x="13465" y="18238"/>
                </a:cubicBezTo>
                <a:cubicBezTo>
                  <a:pt x="13708" y="15552"/>
                  <a:pt x="13848" y="18629"/>
                  <a:pt x="14048" y="16838"/>
                </a:cubicBezTo>
                <a:cubicBezTo>
                  <a:pt x="14203" y="21590"/>
                  <a:pt x="14597" y="16504"/>
                  <a:pt x="14805" y="19537"/>
                </a:cubicBezTo>
                <a:lnTo>
                  <a:pt x="14793" y="18418"/>
                </a:lnTo>
                <a:cubicBezTo>
                  <a:pt x="14847" y="17320"/>
                  <a:pt x="14858" y="19058"/>
                  <a:pt x="14898" y="19315"/>
                </a:cubicBezTo>
                <a:cubicBezTo>
                  <a:pt x="14892" y="18446"/>
                  <a:pt x="14840" y="18310"/>
                  <a:pt x="14873" y="17701"/>
                </a:cubicBezTo>
                <a:cubicBezTo>
                  <a:pt x="15330" y="16353"/>
                  <a:pt x="15816" y="19336"/>
                  <a:pt x="16284" y="20346"/>
                </a:cubicBezTo>
                <a:cubicBezTo>
                  <a:pt x="16455" y="20646"/>
                  <a:pt x="16381" y="14557"/>
                  <a:pt x="16597" y="17228"/>
                </a:cubicBezTo>
                <a:lnTo>
                  <a:pt x="16536" y="19305"/>
                </a:lnTo>
                <a:cubicBezTo>
                  <a:pt x="16882" y="16815"/>
                  <a:pt x="17243" y="19391"/>
                  <a:pt x="17581" y="17277"/>
                </a:cubicBezTo>
                <a:cubicBezTo>
                  <a:pt x="17561" y="17757"/>
                  <a:pt x="17560" y="18380"/>
                  <a:pt x="17527" y="18373"/>
                </a:cubicBezTo>
                <a:cubicBezTo>
                  <a:pt x="17599" y="19882"/>
                  <a:pt x="17792" y="18446"/>
                  <a:pt x="17793" y="17213"/>
                </a:cubicBezTo>
                <a:cubicBezTo>
                  <a:pt x="17846" y="17354"/>
                  <a:pt x="17805" y="18328"/>
                  <a:pt x="17837" y="18954"/>
                </a:cubicBezTo>
                <a:cubicBezTo>
                  <a:pt x="17909" y="19844"/>
                  <a:pt x="18017" y="17027"/>
                  <a:pt x="18056" y="18529"/>
                </a:cubicBezTo>
                <a:cubicBezTo>
                  <a:pt x="18060" y="18688"/>
                  <a:pt x="18050" y="18848"/>
                  <a:pt x="18039" y="18972"/>
                </a:cubicBezTo>
                <a:cubicBezTo>
                  <a:pt x="18100" y="18558"/>
                  <a:pt x="18236" y="19156"/>
                  <a:pt x="18195" y="17580"/>
                </a:cubicBezTo>
                <a:cubicBezTo>
                  <a:pt x="18322" y="18410"/>
                  <a:pt x="18438" y="16805"/>
                  <a:pt x="18539" y="17837"/>
                </a:cubicBezTo>
                <a:cubicBezTo>
                  <a:pt x="18605" y="15890"/>
                  <a:pt x="18757" y="18774"/>
                  <a:pt x="18778" y="16020"/>
                </a:cubicBezTo>
                <a:cubicBezTo>
                  <a:pt x="18769" y="18865"/>
                  <a:pt x="19000" y="18315"/>
                  <a:pt x="19081" y="16977"/>
                </a:cubicBezTo>
                <a:cubicBezTo>
                  <a:pt x="19054" y="17837"/>
                  <a:pt x="19151" y="17867"/>
                  <a:pt x="19119" y="19058"/>
                </a:cubicBezTo>
                <a:cubicBezTo>
                  <a:pt x="19211" y="19019"/>
                  <a:pt x="19295" y="18490"/>
                  <a:pt x="19279" y="17029"/>
                </a:cubicBezTo>
                <a:cubicBezTo>
                  <a:pt x="19448" y="20432"/>
                  <a:pt x="19618" y="14290"/>
                  <a:pt x="19713" y="18651"/>
                </a:cubicBezTo>
                <a:cubicBezTo>
                  <a:pt x="19985" y="17123"/>
                  <a:pt x="20237" y="16089"/>
                  <a:pt x="20482" y="15421"/>
                </a:cubicBezTo>
                <a:cubicBezTo>
                  <a:pt x="20473" y="18258"/>
                  <a:pt x="20211" y="15704"/>
                  <a:pt x="20222" y="18682"/>
                </a:cubicBezTo>
                <a:cubicBezTo>
                  <a:pt x="20454" y="17514"/>
                  <a:pt x="20588" y="15079"/>
                  <a:pt x="20819" y="15764"/>
                </a:cubicBezTo>
                <a:cubicBezTo>
                  <a:pt x="20878" y="16151"/>
                  <a:pt x="20785" y="16993"/>
                  <a:pt x="20765" y="17479"/>
                </a:cubicBezTo>
                <a:cubicBezTo>
                  <a:pt x="20989" y="16351"/>
                  <a:pt x="21198" y="17586"/>
                  <a:pt x="21398" y="16288"/>
                </a:cubicBezTo>
                <a:lnTo>
                  <a:pt x="21472" y="12197"/>
                </a:lnTo>
                <a:lnTo>
                  <a:pt x="21600" y="8787"/>
                </a:lnTo>
                <a:cubicBezTo>
                  <a:pt x="21600" y="8787"/>
                  <a:pt x="21600" y="4943"/>
                  <a:pt x="21600" y="4943"/>
                </a:cubicBezTo>
                <a:close/>
                <a:moveTo>
                  <a:pt x="21600" y="4943"/>
                </a:moveTo>
              </a:path>
            </a:pathLst>
          </a:custGeom>
          <a:solidFill>
            <a:srgbClr val="4D4D4D">
              <a:alpha val="21000"/>
            </a:srgbClr>
          </a:solidFill>
          <a:ln>
            <a:noFill/>
          </a:ln>
          <a:extLst>
            <a:ext uri="{91240B29-F687-4f45-9708-019B960494DF}">
              <a14:hiddenLine xmlns:lc="http://schemas.openxmlformats.org/drawingml/2006/lockedCanvas"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87A34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87" name="AutoShape 128">
            <a:extLst>
              <a:ext uri="{FF2B5EF4-FFF2-40B4-BE49-F238E27FC236}">
                <a16:creationId xmlns:a16="http://schemas.microsoft.com/office/drawing/2014/main" id="{3D4E8C50-DE32-4D9E-B816-5514E91E34DA}"/>
              </a:ext>
            </a:extLst>
          </p:cNvPr>
          <p:cNvSpPr>
            <a:spLocks/>
          </p:cNvSpPr>
          <p:nvPr/>
        </p:nvSpPr>
        <p:spPr bwMode="auto">
          <a:xfrm flipV="1">
            <a:off x="245459" y="5999142"/>
            <a:ext cx="11888815" cy="50681"/>
          </a:xfrm>
          <a:custGeom>
            <a:avLst/>
            <a:gdLst>
              <a:gd name="T0" fmla="*/ 20994 w 21600"/>
              <a:gd name="T1" fmla="*/ 4943 h 20357"/>
              <a:gd name="T2" fmla="*/ 20855 w 21600"/>
              <a:gd name="T3" fmla="*/ 3770 h 20357"/>
              <a:gd name="T4" fmla="*/ 20102 w 21600"/>
              <a:gd name="T5" fmla="*/ 4409 h 20357"/>
              <a:gd name="T6" fmla="*/ 19759 w 21600"/>
              <a:gd name="T7" fmla="*/ 4943 h 20357"/>
              <a:gd name="T8" fmla="*/ 19333 w 21600"/>
              <a:gd name="T9" fmla="*/ 4943 h 20357"/>
              <a:gd name="T10" fmla="*/ 17785 w 21600"/>
              <a:gd name="T11" fmla="*/ 4943 h 20357"/>
              <a:gd name="T12" fmla="*/ 17526 w 21600"/>
              <a:gd name="T13" fmla="*/ 4258 h 20357"/>
              <a:gd name="T14" fmla="*/ 17180 w 21600"/>
              <a:gd name="T15" fmla="*/ 4943 h 20357"/>
              <a:gd name="T16" fmla="*/ 16490 w 21600"/>
              <a:gd name="T17" fmla="*/ 4082 h 20357"/>
              <a:gd name="T18" fmla="*/ 15676 w 21600"/>
              <a:gd name="T19" fmla="*/ 4943 h 20357"/>
              <a:gd name="T20" fmla="*/ 14169 w 21600"/>
              <a:gd name="T21" fmla="*/ 4943 h 20357"/>
              <a:gd name="T22" fmla="*/ 13770 w 21600"/>
              <a:gd name="T23" fmla="*/ 0 h 20357"/>
              <a:gd name="T24" fmla="*/ 13453 w 21600"/>
              <a:gd name="T25" fmla="*/ 807 h 20357"/>
              <a:gd name="T26" fmla="*/ 12290 w 21600"/>
              <a:gd name="T27" fmla="*/ 2543 h 20357"/>
              <a:gd name="T28" fmla="*/ 12027 w 21600"/>
              <a:gd name="T29" fmla="*/ 2411 h 20357"/>
              <a:gd name="T30" fmla="*/ 11202 w 21600"/>
              <a:gd name="T31" fmla="*/ 1124 h 20357"/>
              <a:gd name="T32" fmla="*/ 9507 w 21600"/>
              <a:gd name="T33" fmla="*/ 3379 h 20357"/>
              <a:gd name="T34" fmla="*/ 8471 w 21600"/>
              <a:gd name="T35" fmla="*/ 2301 h 20357"/>
              <a:gd name="T36" fmla="*/ 7871 w 21600"/>
              <a:gd name="T37" fmla="*/ 644 h 20357"/>
              <a:gd name="T38" fmla="*/ 6985 w 21600"/>
              <a:gd name="T39" fmla="*/ 3343 h 20357"/>
              <a:gd name="T40" fmla="*/ 6397 w 21600"/>
              <a:gd name="T41" fmla="*/ 2990 h 20357"/>
              <a:gd name="T42" fmla="*/ 5666 w 21600"/>
              <a:gd name="T43" fmla="*/ 4943 h 20357"/>
              <a:gd name="T44" fmla="*/ 5013 w 21600"/>
              <a:gd name="T45" fmla="*/ 3458 h 20357"/>
              <a:gd name="T46" fmla="*/ 4682 w 21600"/>
              <a:gd name="T47" fmla="*/ 2265 h 20357"/>
              <a:gd name="T48" fmla="*/ 4023 w 21600"/>
              <a:gd name="T49" fmla="*/ 4943 h 20357"/>
              <a:gd name="T50" fmla="*/ 3526 w 21600"/>
              <a:gd name="T51" fmla="*/ 4943 h 20357"/>
              <a:gd name="T52" fmla="*/ 21 w 21600"/>
              <a:gd name="T53" fmla="*/ 8882 h 20357"/>
              <a:gd name="T54" fmla="*/ 1346 w 21600"/>
              <a:gd name="T55" fmla="*/ 15865 h 20357"/>
              <a:gd name="T56" fmla="*/ 2075 w 21600"/>
              <a:gd name="T57" fmla="*/ 18912 h 20357"/>
              <a:gd name="T58" fmla="*/ 2480 w 21600"/>
              <a:gd name="T59" fmla="*/ 18641 h 20357"/>
              <a:gd name="T60" fmla="*/ 2359 w 21600"/>
              <a:gd name="T61" fmla="*/ 16603 h 20357"/>
              <a:gd name="T62" fmla="*/ 3086 w 21600"/>
              <a:gd name="T63" fmla="*/ 15436 h 20357"/>
              <a:gd name="T64" fmla="*/ 3175 w 21600"/>
              <a:gd name="T65" fmla="*/ 12197 h 20357"/>
              <a:gd name="T66" fmla="*/ 3131 w 21600"/>
              <a:gd name="T67" fmla="*/ 15630 h 20357"/>
              <a:gd name="T68" fmla="*/ 3250 w 21600"/>
              <a:gd name="T69" fmla="*/ 18900 h 20357"/>
              <a:gd name="T70" fmla="*/ 4192 w 21600"/>
              <a:gd name="T71" fmla="*/ 15322 h 20357"/>
              <a:gd name="T72" fmla="*/ 4476 w 21600"/>
              <a:gd name="T73" fmla="*/ 15607 h 20357"/>
              <a:gd name="T74" fmla="*/ 5816 w 21600"/>
              <a:gd name="T75" fmla="*/ 18963 h 20357"/>
              <a:gd name="T76" fmla="*/ 6008 w 21600"/>
              <a:gd name="T77" fmla="*/ 18028 h 20357"/>
              <a:gd name="T78" fmla="*/ 6858 w 21600"/>
              <a:gd name="T79" fmla="*/ 15447 h 20357"/>
              <a:gd name="T80" fmla="*/ 8513 w 21600"/>
              <a:gd name="T81" fmla="*/ 15854 h 20357"/>
              <a:gd name="T82" fmla="*/ 8746 w 21600"/>
              <a:gd name="T83" fmla="*/ 17580 h 20357"/>
              <a:gd name="T84" fmla="*/ 9176 w 21600"/>
              <a:gd name="T85" fmla="*/ 18046 h 20357"/>
              <a:gd name="T86" fmla="*/ 9616 w 21600"/>
              <a:gd name="T87" fmla="*/ 19107 h 20357"/>
              <a:gd name="T88" fmla="*/ 10302 w 21600"/>
              <a:gd name="T89" fmla="*/ 15054 h 20357"/>
              <a:gd name="T90" fmla="*/ 10620 w 21600"/>
              <a:gd name="T91" fmla="*/ 18900 h 20357"/>
              <a:gd name="T92" fmla="*/ 11696 w 21600"/>
              <a:gd name="T93" fmla="*/ 17718 h 20357"/>
              <a:gd name="T94" fmla="*/ 12311 w 21600"/>
              <a:gd name="T95" fmla="*/ 14661 h 20357"/>
              <a:gd name="T96" fmla="*/ 13226 w 21600"/>
              <a:gd name="T97" fmla="*/ 17781 h 20357"/>
              <a:gd name="T98" fmla="*/ 14805 w 21600"/>
              <a:gd name="T99" fmla="*/ 19537 h 20357"/>
              <a:gd name="T100" fmla="*/ 16284 w 21600"/>
              <a:gd name="T101" fmla="*/ 20346 h 20357"/>
              <a:gd name="T102" fmla="*/ 17527 w 21600"/>
              <a:gd name="T103" fmla="*/ 18373 h 20357"/>
              <a:gd name="T104" fmla="*/ 18039 w 21600"/>
              <a:gd name="T105" fmla="*/ 18972 h 20357"/>
              <a:gd name="T106" fmla="*/ 19081 w 21600"/>
              <a:gd name="T107" fmla="*/ 16977 h 20357"/>
              <a:gd name="T108" fmla="*/ 20482 w 21600"/>
              <a:gd name="T109" fmla="*/ 15421 h 20357"/>
              <a:gd name="T110" fmla="*/ 21398 w 21600"/>
              <a:gd name="T111" fmla="*/ 16288 h 20357"/>
              <a:gd name="T112" fmla="*/ 21600 w 21600"/>
              <a:gd name="T113" fmla="*/ 4943 h 20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00" h="20357">
                <a:moveTo>
                  <a:pt x="21600" y="4943"/>
                </a:moveTo>
                <a:lnTo>
                  <a:pt x="21064" y="4943"/>
                </a:lnTo>
                <a:cubicBezTo>
                  <a:pt x="21057" y="4930"/>
                  <a:pt x="21050" y="4922"/>
                  <a:pt x="21042" y="4943"/>
                </a:cubicBezTo>
                <a:lnTo>
                  <a:pt x="20994" y="4943"/>
                </a:lnTo>
                <a:cubicBezTo>
                  <a:pt x="20962" y="4169"/>
                  <a:pt x="20997" y="3027"/>
                  <a:pt x="20955" y="2564"/>
                </a:cubicBezTo>
                <a:cubicBezTo>
                  <a:pt x="20829" y="4011"/>
                  <a:pt x="20818" y="1034"/>
                  <a:pt x="20685" y="2230"/>
                </a:cubicBezTo>
                <a:cubicBezTo>
                  <a:pt x="20723" y="3730"/>
                  <a:pt x="20730" y="3363"/>
                  <a:pt x="20636" y="4826"/>
                </a:cubicBezTo>
                <a:lnTo>
                  <a:pt x="20855" y="3770"/>
                </a:lnTo>
                <a:lnTo>
                  <a:pt x="20780" y="4943"/>
                </a:lnTo>
                <a:lnTo>
                  <a:pt x="20584" y="4943"/>
                </a:lnTo>
                <a:lnTo>
                  <a:pt x="20585" y="3435"/>
                </a:lnTo>
                <a:cubicBezTo>
                  <a:pt x="20428" y="1781"/>
                  <a:pt x="20306" y="5342"/>
                  <a:pt x="20102" y="4409"/>
                </a:cubicBezTo>
                <a:lnTo>
                  <a:pt x="20156" y="4943"/>
                </a:lnTo>
                <a:lnTo>
                  <a:pt x="19970" y="4943"/>
                </a:lnTo>
                <a:cubicBezTo>
                  <a:pt x="19958" y="4327"/>
                  <a:pt x="19932" y="3938"/>
                  <a:pt x="19912" y="3392"/>
                </a:cubicBezTo>
                <a:cubicBezTo>
                  <a:pt x="19915" y="4185"/>
                  <a:pt x="19803" y="3557"/>
                  <a:pt x="19759" y="4943"/>
                </a:cubicBezTo>
                <a:lnTo>
                  <a:pt x="19697" y="4943"/>
                </a:lnTo>
                <a:lnTo>
                  <a:pt x="19653" y="4153"/>
                </a:lnTo>
                <a:cubicBezTo>
                  <a:pt x="19592" y="3903"/>
                  <a:pt x="19550" y="4331"/>
                  <a:pt x="19514" y="4943"/>
                </a:cubicBezTo>
                <a:lnTo>
                  <a:pt x="19333" y="4943"/>
                </a:lnTo>
                <a:cubicBezTo>
                  <a:pt x="19341" y="4650"/>
                  <a:pt x="19357" y="4365"/>
                  <a:pt x="19389" y="4073"/>
                </a:cubicBezTo>
                <a:cubicBezTo>
                  <a:pt x="19336" y="4060"/>
                  <a:pt x="19288" y="3833"/>
                  <a:pt x="19287" y="4694"/>
                </a:cubicBezTo>
                <a:cubicBezTo>
                  <a:pt x="19274" y="4357"/>
                  <a:pt x="19245" y="4626"/>
                  <a:pt x="19212" y="4943"/>
                </a:cubicBezTo>
                <a:lnTo>
                  <a:pt x="17785" y="4943"/>
                </a:lnTo>
                <a:cubicBezTo>
                  <a:pt x="17757" y="4296"/>
                  <a:pt x="17710" y="4640"/>
                  <a:pt x="17659" y="4943"/>
                </a:cubicBezTo>
                <a:lnTo>
                  <a:pt x="17528" y="4943"/>
                </a:lnTo>
                <a:cubicBezTo>
                  <a:pt x="17518" y="4833"/>
                  <a:pt x="17509" y="4697"/>
                  <a:pt x="17499" y="4499"/>
                </a:cubicBezTo>
                <a:lnTo>
                  <a:pt x="17526" y="4258"/>
                </a:lnTo>
                <a:cubicBezTo>
                  <a:pt x="17472" y="3360"/>
                  <a:pt x="17401" y="4266"/>
                  <a:pt x="17321" y="4943"/>
                </a:cubicBezTo>
                <a:lnTo>
                  <a:pt x="17183" y="4943"/>
                </a:lnTo>
                <a:cubicBezTo>
                  <a:pt x="17183" y="4928"/>
                  <a:pt x="17183" y="4911"/>
                  <a:pt x="17183" y="4897"/>
                </a:cubicBezTo>
                <a:cubicBezTo>
                  <a:pt x="17182" y="4913"/>
                  <a:pt x="17181" y="4927"/>
                  <a:pt x="17180" y="4943"/>
                </a:cubicBezTo>
                <a:lnTo>
                  <a:pt x="16671" y="4943"/>
                </a:lnTo>
                <a:cubicBezTo>
                  <a:pt x="16630" y="3940"/>
                  <a:pt x="16579" y="4597"/>
                  <a:pt x="16533" y="4943"/>
                </a:cubicBezTo>
                <a:lnTo>
                  <a:pt x="16483" y="4943"/>
                </a:lnTo>
                <a:lnTo>
                  <a:pt x="16490" y="4082"/>
                </a:lnTo>
                <a:cubicBezTo>
                  <a:pt x="16432" y="4188"/>
                  <a:pt x="16394" y="4535"/>
                  <a:pt x="16361" y="4943"/>
                </a:cubicBezTo>
                <a:lnTo>
                  <a:pt x="15826" y="4943"/>
                </a:lnTo>
                <a:cubicBezTo>
                  <a:pt x="15844" y="4759"/>
                  <a:pt x="15860" y="4575"/>
                  <a:pt x="15875" y="4387"/>
                </a:cubicBezTo>
                <a:cubicBezTo>
                  <a:pt x="15829" y="4374"/>
                  <a:pt x="15738" y="4470"/>
                  <a:pt x="15676" y="4943"/>
                </a:cubicBezTo>
                <a:lnTo>
                  <a:pt x="15061" y="4943"/>
                </a:lnTo>
                <a:cubicBezTo>
                  <a:pt x="15012" y="4684"/>
                  <a:pt x="14969" y="4210"/>
                  <a:pt x="14945" y="3246"/>
                </a:cubicBezTo>
                <a:cubicBezTo>
                  <a:pt x="14712" y="5027"/>
                  <a:pt x="14483" y="2488"/>
                  <a:pt x="14212" y="2774"/>
                </a:cubicBezTo>
                <a:cubicBezTo>
                  <a:pt x="14281" y="5487"/>
                  <a:pt x="14208" y="4323"/>
                  <a:pt x="14169" y="4943"/>
                </a:cubicBezTo>
                <a:lnTo>
                  <a:pt x="13913" y="4943"/>
                </a:lnTo>
                <a:lnTo>
                  <a:pt x="13865" y="4361"/>
                </a:lnTo>
                <a:cubicBezTo>
                  <a:pt x="13819" y="3242"/>
                  <a:pt x="13925" y="3513"/>
                  <a:pt x="13919" y="2651"/>
                </a:cubicBezTo>
                <a:cubicBezTo>
                  <a:pt x="13781" y="2356"/>
                  <a:pt x="13861" y="1021"/>
                  <a:pt x="13770" y="0"/>
                </a:cubicBezTo>
                <a:cubicBezTo>
                  <a:pt x="13788" y="1375"/>
                  <a:pt x="13721" y="1969"/>
                  <a:pt x="13643" y="1444"/>
                </a:cubicBezTo>
                <a:lnTo>
                  <a:pt x="13754" y="3218"/>
                </a:lnTo>
                <a:cubicBezTo>
                  <a:pt x="13560" y="5264"/>
                  <a:pt x="13587" y="-10"/>
                  <a:pt x="13392" y="2017"/>
                </a:cubicBezTo>
                <a:lnTo>
                  <a:pt x="13453" y="807"/>
                </a:lnTo>
                <a:cubicBezTo>
                  <a:pt x="13353" y="1521"/>
                  <a:pt x="13084" y="783"/>
                  <a:pt x="12986" y="3872"/>
                </a:cubicBezTo>
                <a:cubicBezTo>
                  <a:pt x="12969" y="3428"/>
                  <a:pt x="12945" y="2376"/>
                  <a:pt x="12989" y="2098"/>
                </a:cubicBezTo>
                <a:cubicBezTo>
                  <a:pt x="12750" y="1635"/>
                  <a:pt x="12458" y="5385"/>
                  <a:pt x="12272" y="3483"/>
                </a:cubicBezTo>
                <a:lnTo>
                  <a:pt x="12290" y="2543"/>
                </a:lnTo>
                <a:cubicBezTo>
                  <a:pt x="12245" y="2815"/>
                  <a:pt x="12212" y="4309"/>
                  <a:pt x="12157" y="3363"/>
                </a:cubicBezTo>
                <a:cubicBezTo>
                  <a:pt x="12159" y="2975"/>
                  <a:pt x="12175" y="2425"/>
                  <a:pt x="12154" y="2370"/>
                </a:cubicBezTo>
                <a:cubicBezTo>
                  <a:pt x="12130" y="2694"/>
                  <a:pt x="12035" y="4017"/>
                  <a:pt x="11976" y="3469"/>
                </a:cubicBezTo>
                <a:lnTo>
                  <a:pt x="12027" y="2411"/>
                </a:lnTo>
                <a:cubicBezTo>
                  <a:pt x="11840" y="1423"/>
                  <a:pt x="11722" y="3680"/>
                  <a:pt x="11582" y="4943"/>
                </a:cubicBezTo>
                <a:lnTo>
                  <a:pt x="11469" y="4943"/>
                </a:lnTo>
                <a:cubicBezTo>
                  <a:pt x="11442" y="2713"/>
                  <a:pt x="11283" y="1925"/>
                  <a:pt x="11199" y="1516"/>
                </a:cubicBezTo>
                <a:lnTo>
                  <a:pt x="11202" y="1124"/>
                </a:lnTo>
                <a:cubicBezTo>
                  <a:pt x="10931" y="783"/>
                  <a:pt x="10741" y="3419"/>
                  <a:pt x="10490" y="4505"/>
                </a:cubicBezTo>
                <a:cubicBezTo>
                  <a:pt x="10334" y="1501"/>
                  <a:pt x="9962" y="3246"/>
                  <a:pt x="9711" y="1562"/>
                </a:cubicBezTo>
                <a:cubicBezTo>
                  <a:pt x="9749" y="2064"/>
                  <a:pt x="9705" y="3719"/>
                  <a:pt x="9660" y="3997"/>
                </a:cubicBezTo>
                <a:cubicBezTo>
                  <a:pt x="9601" y="3435"/>
                  <a:pt x="9497" y="5918"/>
                  <a:pt x="9507" y="3379"/>
                </a:cubicBezTo>
                <a:lnTo>
                  <a:pt x="9528" y="3428"/>
                </a:lnTo>
                <a:cubicBezTo>
                  <a:pt x="9483" y="937"/>
                  <a:pt x="9363" y="1599"/>
                  <a:pt x="9268" y="1531"/>
                </a:cubicBezTo>
                <a:lnTo>
                  <a:pt x="9253" y="4853"/>
                </a:lnTo>
                <a:cubicBezTo>
                  <a:pt x="9006" y="22"/>
                  <a:pt x="8605" y="6627"/>
                  <a:pt x="8471" y="2301"/>
                </a:cubicBezTo>
                <a:cubicBezTo>
                  <a:pt x="8411" y="3131"/>
                  <a:pt x="8337" y="3122"/>
                  <a:pt x="8278" y="3951"/>
                </a:cubicBezTo>
                <a:lnTo>
                  <a:pt x="8281" y="2170"/>
                </a:lnTo>
                <a:cubicBezTo>
                  <a:pt x="8116" y="1716"/>
                  <a:pt x="8034" y="1492"/>
                  <a:pt x="7830" y="1917"/>
                </a:cubicBezTo>
                <a:lnTo>
                  <a:pt x="7871" y="644"/>
                </a:lnTo>
                <a:cubicBezTo>
                  <a:pt x="7786" y="560"/>
                  <a:pt x="7747" y="3413"/>
                  <a:pt x="7690" y="4943"/>
                </a:cubicBezTo>
                <a:lnTo>
                  <a:pt x="7608" y="4943"/>
                </a:lnTo>
                <a:lnTo>
                  <a:pt x="7588" y="3225"/>
                </a:lnTo>
                <a:cubicBezTo>
                  <a:pt x="7387" y="3267"/>
                  <a:pt x="7184" y="933"/>
                  <a:pt x="6985" y="3343"/>
                </a:cubicBezTo>
                <a:cubicBezTo>
                  <a:pt x="6988" y="2955"/>
                  <a:pt x="6994" y="2185"/>
                  <a:pt x="7027" y="2078"/>
                </a:cubicBezTo>
                <a:cubicBezTo>
                  <a:pt x="6935" y="2011"/>
                  <a:pt x="6679" y="390"/>
                  <a:pt x="6693" y="3587"/>
                </a:cubicBezTo>
                <a:cubicBezTo>
                  <a:pt x="6671" y="1786"/>
                  <a:pt x="6482" y="3751"/>
                  <a:pt x="6380" y="4742"/>
                </a:cubicBezTo>
                <a:lnTo>
                  <a:pt x="6397" y="2990"/>
                </a:lnTo>
                <a:cubicBezTo>
                  <a:pt x="6361" y="3851"/>
                  <a:pt x="6339" y="4470"/>
                  <a:pt x="6318" y="4943"/>
                </a:cubicBezTo>
                <a:lnTo>
                  <a:pt x="5669" y="4943"/>
                </a:lnTo>
                <a:cubicBezTo>
                  <a:pt x="5668" y="4914"/>
                  <a:pt x="5668" y="4886"/>
                  <a:pt x="5667" y="4857"/>
                </a:cubicBezTo>
                <a:cubicBezTo>
                  <a:pt x="5667" y="4885"/>
                  <a:pt x="5666" y="4915"/>
                  <a:pt x="5666" y="4943"/>
                </a:cubicBezTo>
                <a:lnTo>
                  <a:pt x="5401" y="4943"/>
                </a:lnTo>
                <a:cubicBezTo>
                  <a:pt x="5396" y="3417"/>
                  <a:pt x="5292" y="3095"/>
                  <a:pt x="5378" y="913"/>
                </a:cubicBezTo>
                <a:cubicBezTo>
                  <a:pt x="5289" y="2130"/>
                  <a:pt x="5136" y="4777"/>
                  <a:pt x="5027" y="4017"/>
                </a:cubicBezTo>
                <a:cubicBezTo>
                  <a:pt x="5022" y="3861"/>
                  <a:pt x="5017" y="3707"/>
                  <a:pt x="5013" y="3458"/>
                </a:cubicBezTo>
                <a:lnTo>
                  <a:pt x="5024" y="3277"/>
                </a:lnTo>
                <a:cubicBezTo>
                  <a:pt x="4999" y="3116"/>
                  <a:pt x="4977" y="3267"/>
                  <a:pt x="4956" y="3538"/>
                </a:cubicBezTo>
                <a:cubicBezTo>
                  <a:pt x="4921" y="3273"/>
                  <a:pt x="4899" y="3076"/>
                  <a:pt x="4866" y="3052"/>
                </a:cubicBezTo>
                <a:cubicBezTo>
                  <a:pt x="4853" y="1716"/>
                  <a:pt x="4738" y="2331"/>
                  <a:pt x="4682" y="2265"/>
                </a:cubicBezTo>
                <a:cubicBezTo>
                  <a:pt x="4686" y="3918"/>
                  <a:pt x="4623" y="3779"/>
                  <a:pt x="4671" y="4943"/>
                </a:cubicBezTo>
                <a:lnTo>
                  <a:pt x="4496" y="4943"/>
                </a:lnTo>
                <a:cubicBezTo>
                  <a:pt x="4457" y="4256"/>
                  <a:pt x="4425" y="3637"/>
                  <a:pt x="4416" y="2985"/>
                </a:cubicBezTo>
                <a:cubicBezTo>
                  <a:pt x="4293" y="3702"/>
                  <a:pt x="4139" y="3731"/>
                  <a:pt x="4023" y="4943"/>
                </a:cubicBezTo>
                <a:lnTo>
                  <a:pt x="3901" y="4943"/>
                </a:lnTo>
                <a:cubicBezTo>
                  <a:pt x="3905" y="4884"/>
                  <a:pt x="3909" y="4817"/>
                  <a:pt x="3912" y="4727"/>
                </a:cubicBezTo>
                <a:cubicBezTo>
                  <a:pt x="3902" y="4812"/>
                  <a:pt x="3891" y="4881"/>
                  <a:pt x="3880" y="4943"/>
                </a:cubicBezTo>
                <a:lnTo>
                  <a:pt x="3526" y="4943"/>
                </a:lnTo>
                <a:lnTo>
                  <a:pt x="3527" y="4912"/>
                </a:lnTo>
                <a:cubicBezTo>
                  <a:pt x="3402" y="3504"/>
                  <a:pt x="3295" y="4022"/>
                  <a:pt x="3190" y="4943"/>
                </a:cubicBezTo>
                <a:lnTo>
                  <a:pt x="0" y="4943"/>
                </a:lnTo>
                <a:lnTo>
                  <a:pt x="21" y="8882"/>
                </a:lnTo>
                <a:lnTo>
                  <a:pt x="29" y="8882"/>
                </a:lnTo>
                <a:lnTo>
                  <a:pt x="29" y="14010"/>
                </a:lnTo>
                <a:cubicBezTo>
                  <a:pt x="32" y="14222"/>
                  <a:pt x="69" y="13664"/>
                  <a:pt x="68" y="14013"/>
                </a:cubicBezTo>
                <a:cubicBezTo>
                  <a:pt x="88" y="13349"/>
                  <a:pt x="1288" y="15980"/>
                  <a:pt x="1346" y="15865"/>
                </a:cubicBezTo>
                <a:cubicBezTo>
                  <a:pt x="1239" y="19183"/>
                  <a:pt x="1563" y="16060"/>
                  <a:pt x="1535" y="19618"/>
                </a:cubicBezTo>
                <a:cubicBezTo>
                  <a:pt x="1614" y="16634"/>
                  <a:pt x="1819" y="18292"/>
                  <a:pt x="1959" y="16637"/>
                </a:cubicBezTo>
                <a:cubicBezTo>
                  <a:pt x="1951" y="16874"/>
                  <a:pt x="1936" y="17354"/>
                  <a:pt x="1923" y="17202"/>
                </a:cubicBezTo>
                <a:cubicBezTo>
                  <a:pt x="2002" y="17450"/>
                  <a:pt x="2025" y="18349"/>
                  <a:pt x="2075" y="18912"/>
                </a:cubicBezTo>
                <a:cubicBezTo>
                  <a:pt x="2085" y="16449"/>
                  <a:pt x="2207" y="15885"/>
                  <a:pt x="2273" y="14365"/>
                </a:cubicBezTo>
                <a:cubicBezTo>
                  <a:pt x="2369" y="16743"/>
                  <a:pt x="2215" y="17257"/>
                  <a:pt x="2245" y="19542"/>
                </a:cubicBezTo>
                <a:cubicBezTo>
                  <a:pt x="2240" y="17545"/>
                  <a:pt x="2412" y="17549"/>
                  <a:pt x="2379" y="15885"/>
                </a:cubicBezTo>
                <a:cubicBezTo>
                  <a:pt x="2453" y="17356"/>
                  <a:pt x="2442" y="16599"/>
                  <a:pt x="2480" y="18641"/>
                </a:cubicBezTo>
                <a:cubicBezTo>
                  <a:pt x="2493" y="15559"/>
                  <a:pt x="2549" y="18120"/>
                  <a:pt x="2610" y="16227"/>
                </a:cubicBezTo>
                <a:cubicBezTo>
                  <a:pt x="2716" y="17746"/>
                  <a:pt x="2209" y="19114"/>
                  <a:pt x="2326" y="18175"/>
                </a:cubicBezTo>
                <a:cubicBezTo>
                  <a:pt x="2382" y="19120"/>
                  <a:pt x="2278" y="20212"/>
                  <a:pt x="2278" y="20212"/>
                </a:cubicBezTo>
                <a:cubicBezTo>
                  <a:pt x="2397" y="20262"/>
                  <a:pt x="2334" y="17938"/>
                  <a:pt x="2359" y="16603"/>
                </a:cubicBezTo>
                <a:cubicBezTo>
                  <a:pt x="2501" y="15945"/>
                  <a:pt x="2425" y="18315"/>
                  <a:pt x="2473" y="19502"/>
                </a:cubicBezTo>
                <a:cubicBezTo>
                  <a:pt x="2562" y="18888"/>
                  <a:pt x="2630" y="16755"/>
                  <a:pt x="2696" y="16846"/>
                </a:cubicBezTo>
                <a:cubicBezTo>
                  <a:pt x="2701" y="17228"/>
                  <a:pt x="2713" y="17368"/>
                  <a:pt x="2698" y="17847"/>
                </a:cubicBezTo>
                <a:cubicBezTo>
                  <a:pt x="2792" y="16000"/>
                  <a:pt x="2977" y="17757"/>
                  <a:pt x="3086" y="15436"/>
                </a:cubicBezTo>
                <a:cubicBezTo>
                  <a:pt x="3094" y="15642"/>
                  <a:pt x="3098" y="15837"/>
                  <a:pt x="3100" y="16012"/>
                </a:cubicBezTo>
                <a:cubicBezTo>
                  <a:pt x="3082" y="14849"/>
                  <a:pt x="3080" y="13666"/>
                  <a:pt x="3083" y="12825"/>
                </a:cubicBezTo>
                <a:cubicBezTo>
                  <a:pt x="3116" y="12801"/>
                  <a:pt x="3145" y="12279"/>
                  <a:pt x="3167" y="12197"/>
                </a:cubicBezTo>
                <a:lnTo>
                  <a:pt x="3175" y="12197"/>
                </a:lnTo>
                <a:cubicBezTo>
                  <a:pt x="3186" y="12212"/>
                  <a:pt x="3196" y="12376"/>
                  <a:pt x="3202" y="12876"/>
                </a:cubicBezTo>
                <a:cubicBezTo>
                  <a:pt x="3170" y="12832"/>
                  <a:pt x="3167" y="13444"/>
                  <a:pt x="3152" y="13918"/>
                </a:cubicBezTo>
                <a:lnTo>
                  <a:pt x="3208" y="13258"/>
                </a:lnTo>
                <a:cubicBezTo>
                  <a:pt x="3258" y="15441"/>
                  <a:pt x="3131" y="14014"/>
                  <a:pt x="3131" y="15630"/>
                </a:cubicBezTo>
                <a:cubicBezTo>
                  <a:pt x="3240" y="14919"/>
                  <a:pt x="3367" y="13113"/>
                  <a:pt x="3451" y="13729"/>
                </a:cubicBezTo>
                <a:cubicBezTo>
                  <a:pt x="3468" y="15865"/>
                  <a:pt x="3255" y="14448"/>
                  <a:pt x="3367" y="16347"/>
                </a:cubicBezTo>
                <a:lnTo>
                  <a:pt x="3238" y="15532"/>
                </a:lnTo>
                <a:cubicBezTo>
                  <a:pt x="3336" y="18900"/>
                  <a:pt x="3159" y="15295"/>
                  <a:pt x="3250" y="18900"/>
                </a:cubicBezTo>
                <a:cubicBezTo>
                  <a:pt x="3420" y="19519"/>
                  <a:pt x="3440" y="17812"/>
                  <a:pt x="3610" y="18435"/>
                </a:cubicBezTo>
                <a:cubicBezTo>
                  <a:pt x="3648" y="17248"/>
                  <a:pt x="3597" y="16679"/>
                  <a:pt x="3635" y="15492"/>
                </a:cubicBezTo>
                <a:cubicBezTo>
                  <a:pt x="3876" y="13360"/>
                  <a:pt x="3825" y="20863"/>
                  <a:pt x="4002" y="18017"/>
                </a:cubicBezTo>
                <a:cubicBezTo>
                  <a:pt x="4048" y="16594"/>
                  <a:pt x="4066" y="13892"/>
                  <a:pt x="4192" y="15322"/>
                </a:cubicBezTo>
                <a:lnTo>
                  <a:pt x="4149" y="17736"/>
                </a:lnTo>
                <a:cubicBezTo>
                  <a:pt x="4314" y="17974"/>
                  <a:pt x="4243" y="14265"/>
                  <a:pt x="4416" y="15890"/>
                </a:cubicBezTo>
                <a:cubicBezTo>
                  <a:pt x="4385" y="16838"/>
                  <a:pt x="4286" y="16689"/>
                  <a:pt x="4311" y="16977"/>
                </a:cubicBezTo>
                <a:cubicBezTo>
                  <a:pt x="4423" y="18884"/>
                  <a:pt x="4390" y="15607"/>
                  <a:pt x="4476" y="15607"/>
                </a:cubicBezTo>
                <a:lnTo>
                  <a:pt x="4494" y="17746"/>
                </a:lnTo>
                <a:cubicBezTo>
                  <a:pt x="4669" y="17409"/>
                  <a:pt x="4862" y="15865"/>
                  <a:pt x="5056" y="15475"/>
                </a:cubicBezTo>
                <a:cubicBezTo>
                  <a:pt x="5045" y="16111"/>
                  <a:pt x="5012" y="16780"/>
                  <a:pt x="5058" y="17434"/>
                </a:cubicBezTo>
                <a:cubicBezTo>
                  <a:pt x="5302" y="16366"/>
                  <a:pt x="5580" y="17695"/>
                  <a:pt x="5816" y="18963"/>
                </a:cubicBezTo>
                <a:lnTo>
                  <a:pt x="5907" y="17118"/>
                </a:lnTo>
                <a:cubicBezTo>
                  <a:pt x="5928" y="17139"/>
                  <a:pt x="5946" y="17951"/>
                  <a:pt x="5923" y="18310"/>
                </a:cubicBezTo>
                <a:cubicBezTo>
                  <a:pt x="6015" y="19009"/>
                  <a:pt x="5928" y="17139"/>
                  <a:pt x="5972" y="16413"/>
                </a:cubicBezTo>
                <a:cubicBezTo>
                  <a:pt x="6024" y="16284"/>
                  <a:pt x="6041" y="17474"/>
                  <a:pt x="6008" y="18028"/>
                </a:cubicBezTo>
                <a:cubicBezTo>
                  <a:pt x="6170" y="16464"/>
                  <a:pt x="6470" y="14657"/>
                  <a:pt x="6642" y="16634"/>
                </a:cubicBezTo>
                <a:lnTo>
                  <a:pt x="6608" y="17182"/>
                </a:lnTo>
                <a:cubicBezTo>
                  <a:pt x="6741" y="17931"/>
                  <a:pt x="6759" y="13399"/>
                  <a:pt x="6882" y="15120"/>
                </a:cubicBezTo>
                <a:lnTo>
                  <a:pt x="6858" y="15447"/>
                </a:lnTo>
                <a:cubicBezTo>
                  <a:pt x="7148" y="16247"/>
                  <a:pt x="7467" y="14557"/>
                  <a:pt x="7688" y="17343"/>
                </a:cubicBezTo>
                <a:cubicBezTo>
                  <a:pt x="7730" y="14685"/>
                  <a:pt x="7974" y="18529"/>
                  <a:pt x="7993" y="14821"/>
                </a:cubicBezTo>
                <a:cubicBezTo>
                  <a:pt x="8158" y="16659"/>
                  <a:pt x="8111" y="17320"/>
                  <a:pt x="8343" y="18556"/>
                </a:cubicBezTo>
                <a:cubicBezTo>
                  <a:pt x="8405" y="18727"/>
                  <a:pt x="8436" y="16241"/>
                  <a:pt x="8513" y="15854"/>
                </a:cubicBezTo>
                <a:lnTo>
                  <a:pt x="8514" y="17793"/>
                </a:lnTo>
                <a:lnTo>
                  <a:pt x="8619" y="15759"/>
                </a:lnTo>
                <a:lnTo>
                  <a:pt x="8674" y="18077"/>
                </a:lnTo>
                <a:lnTo>
                  <a:pt x="8746" y="17580"/>
                </a:lnTo>
                <a:cubicBezTo>
                  <a:pt x="8717" y="17466"/>
                  <a:pt x="8685" y="16710"/>
                  <a:pt x="8690" y="16151"/>
                </a:cubicBezTo>
                <a:cubicBezTo>
                  <a:pt x="8802" y="15274"/>
                  <a:pt x="8964" y="17502"/>
                  <a:pt x="8967" y="18495"/>
                </a:cubicBezTo>
                <a:lnTo>
                  <a:pt x="9233" y="16855"/>
                </a:lnTo>
                <a:cubicBezTo>
                  <a:pt x="9228" y="17433"/>
                  <a:pt x="9203" y="17729"/>
                  <a:pt x="9176" y="18046"/>
                </a:cubicBezTo>
                <a:cubicBezTo>
                  <a:pt x="9272" y="17015"/>
                  <a:pt x="9183" y="20301"/>
                  <a:pt x="9303" y="18629"/>
                </a:cubicBezTo>
                <a:cubicBezTo>
                  <a:pt x="9286" y="18189"/>
                  <a:pt x="9312" y="17474"/>
                  <a:pt x="9315" y="17082"/>
                </a:cubicBezTo>
                <a:cubicBezTo>
                  <a:pt x="9380" y="18254"/>
                  <a:pt x="9528" y="18265"/>
                  <a:pt x="9637" y="17772"/>
                </a:cubicBezTo>
                <a:lnTo>
                  <a:pt x="9616" y="19107"/>
                </a:lnTo>
                <a:cubicBezTo>
                  <a:pt x="9814" y="19447"/>
                  <a:pt x="10033" y="18466"/>
                  <a:pt x="10254" y="18490"/>
                </a:cubicBezTo>
                <a:cubicBezTo>
                  <a:pt x="10175" y="17867"/>
                  <a:pt x="10193" y="15552"/>
                  <a:pt x="10258" y="15329"/>
                </a:cubicBezTo>
                <a:lnTo>
                  <a:pt x="10284" y="17379"/>
                </a:lnTo>
                <a:cubicBezTo>
                  <a:pt x="10326" y="16111"/>
                  <a:pt x="10216" y="16603"/>
                  <a:pt x="10302" y="15054"/>
                </a:cubicBezTo>
                <a:cubicBezTo>
                  <a:pt x="10385" y="15291"/>
                  <a:pt x="10358" y="17384"/>
                  <a:pt x="10310" y="18050"/>
                </a:cubicBezTo>
                <a:lnTo>
                  <a:pt x="10411" y="17339"/>
                </a:lnTo>
                <a:cubicBezTo>
                  <a:pt x="10417" y="17951"/>
                  <a:pt x="10393" y="18274"/>
                  <a:pt x="10387" y="19054"/>
                </a:cubicBezTo>
                <a:cubicBezTo>
                  <a:pt x="10428" y="17781"/>
                  <a:pt x="10561" y="21109"/>
                  <a:pt x="10620" y="18900"/>
                </a:cubicBezTo>
                <a:lnTo>
                  <a:pt x="10626" y="19510"/>
                </a:lnTo>
                <a:cubicBezTo>
                  <a:pt x="10848" y="19527"/>
                  <a:pt x="10948" y="18822"/>
                  <a:pt x="11128" y="18719"/>
                </a:cubicBezTo>
                <a:cubicBezTo>
                  <a:pt x="11132" y="16950"/>
                  <a:pt x="11202" y="17343"/>
                  <a:pt x="11256" y="15914"/>
                </a:cubicBezTo>
                <a:cubicBezTo>
                  <a:pt x="11389" y="16478"/>
                  <a:pt x="11536" y="17867"/>
                  <a:pt x="11696" y="17718"/>
                </a:cubicBezTo>
                <a:cubicBezTo>
                  <a:pt x="11808" y="16838"/>
                  <a:pt x="11729" y="16221"/>
                  <a:pt x="11779" y="15170"/>
                </a:cubicBezTo>
                <a:cubicBezTo>
                  <a:pt x="11787" y="16780"/>
                  <a:pt x="11947" y="16630"/>
                  <a:pt x="11864" y="17786"/>
                </a:cubicBezTo>
                <a:cubicBezTo>
                  <a:pt x="12056" y="17525"/>
                  <a:pt x="12109" y="17466"/>
                  <a:pt x="12352" y="16158"/>
                </a:cubicBezTo>
                <a:cubicBezTo>
                  <a:pt x="12325" y="15497"/>
                  <a:pt x="12296" y="15211"/>
                  <a:pt x="12311" y="14661"/>
                </a:cubicBezTo>
                <a:cubicBezTo>
                  <a:pt x="12355" y="14396"/>
                  <a:pt x="12411" y="15337"/>
                  <a:pt x="12405" y="16111"/>
                </a:cubicBezTo>
                <a:lnTo>
                  <a:pt x="12393" y="16276"/>
                </a:lnTo>
                <a:cubicBezTo>
                  <a:pt x="12665" y="13863"/>
                  <a:pt x="13021" y="20973"/>
                  <a:pt x="13238" y="17615"/>
                </a:cubicBezTo>
                <a:lnTo>
                  <a:pt x="13226" y="17781"/>
                </a:lnTo>
                <a:lnTo>
                  <a:pt x="13451" y="16031"/>
                </a:lnTo>
                <a:cubicBezTo>
                  <a:pt x="13554" y="16310"/>
                  <a:pt x="13389" y="17242"/>
                  <a:pt x="13465" y="18238"/>
                </a:cubicBezTo>
                <a:cubicBezTo>
                  <a:pt x="13708" y="15552"/>
                  <a:pt x="13848" y="18629"/>
                  <a:pt x="14048" y="16838"/>
                </a:cubicBezTo>
                <a:cubicBezTo>
                  <a:pt x="14203" y="21590"/>
                  <a:pt x="14597" y="16504"/>
                  <a:pt x="14805" y="19537"/>
                </a:cubicBezTo>
                <a:lnTo>
                  <a:pt x="14793" y="18418"/>
                </a:lnTo>
                <a:cubicBezTo>
                  <a:pt x="14847" y="17320"/>
                  <a:pt x="14858" y="19058"/>
                  <a:pt x="14898" y="19315"/>
                </a:cubicBezTo>
                <a:cubicBezTo>
                  <a:pt x="14892" y="18446"/>
                  <a:pt x="14840" y="18310"/>
                  <a:pt x="14873" y="17701"/>
                </a:cubicBezTo>
                <a:cubicBezTo>
                  <a:pt x="15330" y="16353"/>
                  <a:pt x="15816" y="19336"/>
                  <a:pt x="16284" y="20346"/>
                </a:cubicBezTo>
                <a:cubicBezTo>
                  <a:pt x="16455" y="20646"/>
                  <a:pt x="16381" y="14557"/>
                  <a:pt x="16597" y="17228"/>
                </a:cubicBezTo>
                <a:lnTo>
                  <a:pt x="16536" y="19305"/>
                </a:lnTo>
                <a:cubicBezTo>
                  <a:pt x="16882" y="16815"/>
                  <a:pt x="17243" y="19391"/>
                  <a:pt x="17581" y="17277"/>
                </a:cubicBezTo>
                <a:cubicBezTo>
                  <a:pt x="17561" y="17757"/>
                  <a:pt x="17560" y="18380"/>
                  <a:pt x="17527" y="18373"/>
                </a:cubicBezTo>
                <a:cubicBezTo>
                  <a:pt x="17599" y="19882"/>
                  <a:pt x="17792" y="18446"/>
                  <a:pt x="17793" y="17213"/>
                </a:cubicBezTo>
                <a:cubicBezTo>
                  <a:pt x="17846" y="17354"/>
                  <a:pt x="17805" y="18328"/>
                  <a:pt x="17837" y="18954"/>
                </a:cubicBezTo>
                <a:cubicBezTo>
                  <a:pt x="17909" y="19844"/>
                  <a:pt x="18017" y="17027"/>
                  <a:pt x="18056" y="18529"/>
                </a:cubicBezTo>
                <a:cubicBezTo>
                  <a:pt x="18060" y="18688"/>
                  <a:pt x="18050" y="18848"/>
                  <a:pt x="18039" y="18972"/>
                </a:cubicBezTo>
                <a:cubicBezTo>
                  <a:pt x="18100" y="18558"/>
                  <a:pt x="18236" y="19156"/>
                  <a:pt x="18195" y="17580"/>
                </a:cubicBezTo>
                <a:cubicBezTo>
                  <a:pt x="18322" y="18410"/>
                  <a:pt x="18438" y="16805"/>
                  <a:pt x="18539" y="17837"/>
                </a:cubicBezTo>
                <a:cubicBezTo>
                  <a:pt x="18605" y="15890"/>
                  <a:pt x="18757" y="18774"/>
                  <a:pt x="18778" y="16020"/>
                </a:cubicBezTo>
                <a:cubicBezTo>
                  <a:pt x="18769" y="18865"/>
                  <a:pt x="19000" y="18315"/>
                  <a:pt x="19081" y="16977"/>
                </a:cubicBezTo>
                <a:cubicBezTo>
                  <a:pt x="19054" y="17837"/>
                  <a:pt x="19151" y="17867"/>
                  <a:pt x="19119" y="19058"/>
                </a:cubicBezTo>
                <a:cubicBezTo>
                  <a:pt x="19211" y="19019"/>
                  <a:pt x="19295" y="18490"/>
                  <a:pt x="19279" y="17029"/>
                </a:cubicBezTo>
                <a:cubicBezTo>
                  <a:pt x="19448" y="20432"/>
                  <a:pt x="19618" y="14290"/>
                  <a:pt x="19713" y="18651"/>
                </a:cubicBezTo>
                <a:cubicBezTo>
                  <a:pt x="19985" y="17123"/>
                  <a:pt x="20237" y="16089"/>
                  <a:pt x="20482" y="15421"/>
                </a:cubicBezTo>
                <a:cubicBezTo>
                  <a:pt x="20473" y="18258"/>
                  <a:pt x="20211" y="15704"/>
                  <a:pt x="20222" y="18682"/>
                </a:cubicBezTo>
                <a:cubicBezTo>
                  <a:pt x="20454" y="17514"/>
                  <a:pt x="20588" y="15079"/>
                  <a:pt x="20819" y="15764"/>
                </a:cubicBezTo>
                <a:cubicBezTo>
                  <a:pt x="20878" y="16151"/>
                  <a:pt x="20785" y="16993"/>
                  <a:pt x="20765" y="17479"/>
                </a:cubicBezTo>
                <a:cubicBezTo>
                  <a:pt x="20989" y="16351"/>
                  <a:pt x="21198" y="17586"/>
                  <a:pt x="21398" y="16288"/>
                </a:cubicBezTo>
                <a:lnTo>
                  <a:pt x="21472" y="12197"/>
                </a:lnTo>
                <a:lnTo>
                  <a:pt x="21600" y="8787"/>
                </a:lnTo>
                <a:cubicBezTo>
                  <a:pt x="21600" y="8787"/>
                  <a:pt x="21600" y="4943"/>
                  <a:pt x="21600" y="4943"/>
                </a:cubicBezTo>
                <a:close/>
                <a:moveTo>
                  <a:pt x="21600" y="4943"/>
                </a:moveTo>
              </a:path>
            </a:pathLst>
          </a:custGeom>
          <a:solidFill>
            <a:srgbClr val="4D4D4D">
              <a:alpha val="21000"/>
            </a:srgbClr>
          </a:solidFill>
          <a:ln>
            <a:noFill/>
          </a:ln>
          <a:extLst>
            <a:ext uri="{91240B29-F687-4f45-9708-019B960494DF}">
              <a14:hiddenLine xmlns:lc="http://schemas.openxmlformats.org/drawingml/2006/lockedCanvas"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87A34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89" name="TextBox 46">
            <a:extLst>
              <a:ext uri="{FF2B5EF4-FFF2-40B4-BE49-F238E27FC236}">
                <a16:creationId xmlns:a16="http://schemas.microsoft.com/office/drawing/2014/main" id="{82003DF5-4FCD-4247-84C8-2B99CFF14C5F}"/>
              </a:ext>
            </a:extLst>
          </p:cNvPr>
          <p:cNvSpPr txBox="1"/>
          <p:nvPr/>
        </p:nvSpPr>
        <p:spPr>
          <a:xfrm rot="16200000">
            <a:off x="-269700" y="1635322"/>
            <a:ext cx="1265105" cy="338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C00"/>
                </a:solidFill>
                <a:effectLst/>
                <a:uLnTx/>
                <a:uFillTx/>
                <a:latin typeface="HEINEKEN Core" panose="02000503050000020004" pitchFamily="2" charset="0"/>
                <a:ea typeface="+mn-ea"/>
                <a:cs typeface="+mn-cs"/>
              </a:rPr>
              <a:t>OFT</a:t>
            </a:r>
            <a:endParaRPr kumimoji="0" lang="en-NZ" sz="1400" b="1" i="0" u="none" strike="noStrike" kern="1200" cap="none" spc="0" normalizeH="0" baseline="0" noProof="0">
              <a:ln>
                <a:noFill/>
              </a:ln>
              <a:solidFill>
                <a:srgbClr val="000C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</a:endParaRPr>
          </a:p>
        </p:txBody>
      </p:sp>
      <p:sp>
        <p:nvSpPr>
          <p:cNvPr id="90" name="TextBox 47">
            <a:extLst>
              <a:ext uri="{FF2B5EF4-FFF2-40B4-BE49-F238E27FC236}">
                <a16:creationId xmlns:a16="http://schemas.microsoft.com/office/drawing/2014/main" id="{A858FB4D-3871-43F9-93F9-1D2A63EA63D3}"/>
              </a:ext>
            </a:extLst>
          </p:cNvPr>
          <p:cNvSpPr txBox="1"/>
          <p:nvPr/>
        </p:nvSpPr>
        <p:spPr>
          <a:xfrm rot="16200000">
            <a:off x="-224982" y="4677587"/>
            <a:ext cx="1265105" cy="338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C00"/>
                </a:solidFill>
                <a:effectLst/>
                <a:uLnTx/>
                <a:uFillTx/>
                <a:latin typeface="HEINEKEN Core" panose="02000503050000020004" pitchFamily="2" charset="0"/>
                <a:ea typeface="+mn-ea"/>
                <a:cs typeface="+mn-cs"/>
              </a:rPr>
              <a:t>ONT</a:t>
            </a:r>
            <a:endParaRPr kumimoji="0" lang="en-NZ" sz="1400" b="1" i="0" u="none" strike="noStrike" kern="1200" cap="none" spc="0" normalizeH="0" baseline="0" noProof="0">
              <a:ln>
                <a:noFill/>
              </a:ln>
              <a:solidFill>
                <a:srgbClr val="000C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</a:endParaRPr>
          </a:p>
        </p:txBody>
      </p:sp>
      <p:sp>
        <p:nvSpPr>
          <p:cNvPr id="91" name="TextBox 48">
            <a:extLst>
              <a:ext uri="{FF2B5EF4-FFF2-40B4-BE49-F238E27FC236}">
                <a16:creationId xmlns:a16="http://schemas.microsoft.com/office/drawing/2014/main" id="{61E66FF8-F400-461C-9834-5E1D5FD40C7B}"/>
              </a:ext>
            </a:extLst>
          </p:cNvPr>
          <p:cNvSpPr txBox="1"/>
          <p:nvPr/>
        </p:nvSpPr>
        <p:spPr>
          <a:xfrm rot="16200000">
            <a:off x="-556539" y="6070014"/>
            <a:ext cx="1902234" cy="338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C00"/>
                </a:solidFill>
                <a:effectLst/>
                <a:uLnTx/>
                <a:uFillTx/>
                <a:latin typeface="HEINEKEN Core" panose="02000503050000020004" pitchFamily="2" charset="0"/>
                <a:ea typeface="+mn-ea"/>
                <a:cs typeface="+mn-cs"/>
              </a:rPr>
              <a:t>W&amp;F</a:t>
            </a:r>
            <a:endParaRPr kumimoji="0" lang="en-NZ" sz="1400" b="1" i="0" u="none" strike="noStrike" kern="1200" cap="none" spc="0" normalizeH="0" baseline="0" noProof="0" dirty="0">
              <a:ln>
                <a:noFill/>
              </a:ln>
              <a:solidFill>
                <a:srgbClr val="000C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</a:endParaRPr>
          </a:p>
        </p:txBody>
      </p:sp>
      <p:sp>
        <p:nvSpPr>
          <p:cNvPr id="92" name="AutoShape 128">
            <a:extLst>
              <a:ext uri="{FF2B5EF4-FFF2-40B4-BE49-F238E27FC236}">
                <a16:creationId xmlns:a16="http://schemas.microsoft.com/office/drawing/2014/main" id="{3783529F-24F7-4A1E-94DB-67564C74EC47}"/>
              </a:ext>
            </a:extLst>
          </p:cNvPr>
          <p:cNvSpPr>
            <a:spLocks/>
          </p:cNvSpPr>
          <p:nvPr/>
        </p:nvSpPr>
        <p:spPr bwMode="auto">
          <a:xfrm rot="5400000" flipV="1">
            <a:off x="2127383" y="3519164"/>
            <a:ext cx="4882637" cy="48673"/>
          </a:xfrm>
          <a:custGeom>
            <a:avLst/>
            <a:gdLst>
              <a:gd name="T0" fmla="*/ 20994 w 21600"/>
              <a:gd name="T1" fmla="*/ 4943 h 20357"/>
              <a:gd name="T2" fmla="*/ 20855 w 21600"/>
              <a:gd name="T3" fmla="*/ 3770 h 20357"/>
              <a:gd name="T4" fmla="*/ 20102 w 21600"/>
              <a:gd name="T5" fmla="*/ 4409 h 20357"/>
              <a:gd name="T6" fmla="*/ 19759 w 21600"/>
              <a:gd name="T7" fmla="*/ 4943 h 20357"/>
              <a:gd name="T8" fmla="*/ 19333 w 21600"/>
              <a:gd name="T9" fmla="*/ 4943 h 20357"/>
              <a:gd name="T10" fmla="*/ 17785 w 21600"/>
              <a:gd name="T11" fmla="*/ 4943 h 20357"/>
              <a:gd name="T12" fmla="*/ 17526 w 21600"/>
              <a:gd name="T13" fmla="*/ 4258 h 20357"/>
              <a:gd name="T14" fmla="*/ 17180 w 21600"/>
              <a:gd name="T15" fmla="*/ 4943 h 20357"/>
              <a:gd name="T16" fmla="*/ 16490 w 21600"/>
              <a:gd name="T17" fmla="*/ 4082 h 20357"/>
              <a:gd name="T18" fmla="*/ 15676 w 21600"/>
              <a:gd name="T19" fmla="*/ 4943 h 20357"/>
              <a:gd name="T20" fmla="*/ 14169 w 21600"/>
              <a:gd name="T21" fmla="*/ 4943 h 20357"/>
              <a:gd name="T22" fmla="*/ 13770 w 21600"/>
              <a:gd name="T23" fmla="*/ 0 h 20357"/>
              <a:gd name="T24" fmla="*/ 13453 w 21600"/>
              <a:gd name="T25" fmla="*/ 807 h 20357"/>
              <a:gd name="T26" fmla="*/ 12290 w 21600"/>
              <a:gd name="T27" fmla="*/ 2543 h 20357"/>
              <a:gd name="T28" fmla="*/ 12027 w 21600"/>
              <a:gd name="T29" fmla="*/ 2411 h 20357"/>
              <a:gd name="T30" fmla="*/ 11202 w 21600"/>
              <a:gd name="T31" fmla="*/ 1124 h 20357"/>
              <a:gd name="T32" fmla="*/ 9507 w 21600"/>
              <a:gd name="T33" fmla="*/ 3379 h 20357"/>
              <a:gd name="T34" fmla="*/ 8471 w 21600"/>
              <a:gd name="T35" fmla="*/ 2301 h 20357"/>
              <a:gd name="T36" fmla="*/ 7871 w 21600"/>
              <a:gd name="T37" fmla="*/ 644 h 20357"/>
              <a:gd name="T38" fmla="*/ 6985 w 21600"/>
              <a:gd name="T39" fmla="*/ 3343 h 20357"/>
              <a:gd name="T40" fmla="*/ 6397 w 21600"/>
              <a:gd name="T41" fmla="*/ 2990 h 20357"/>
              <a:gd name="T42" fmla="*/ 5666 w 21600"/>
              <a:gd name="T43" fmla="*/ 4943 h 20357"/>
              <a:gd name="T44" fmla="*/ 5013 w 21600"/>
              <a:gd name="T45" fmla="*/ 3458 h 20357"/>
              <a:gd name="T46" fmla="*/ 4682 w 21600"/>
              <a:gd name="T47" fmla="*/ 2265 h 20357"/>
              <a:gd name="T48" fmla="*/ 4023 w 21600"/>
              <a:gd name="T49" fmla="*/ 4943 h 20357"/>
              <a:gd name="T50" fmla="*/ 3526 w 21600"/>
              <a:gd name="T51" fmla="*/ 4943 h 20357"/>
              <a:gd name="T52" fmla="*/ 21 w 21600"/>
              <a:gd name="T53" fmla="*/ 8882 h 20357"/>
              <a:gd name="T54" fmla="*/ 1346 w 21600"/>
              <a:gd name="T55" fmla="*/ 15865 h 20357"/>
              <a:gd name="T56" fmla="*/ 2075 w 21600"/>
              <a:gd name="T57" fmla="*/ 18912 h 20357"/>
              <a:gd name="T58" fmla="*/ 2480 w 21600"/>
              <a:gd name="T59" fmla="*/ 18641 h 20357"/>
              <a:gd name="T60" fmla="*/ 2359 w 21600"/>
              <a:gd name="T61" fmla="*/ 16603 h 20357"/>
              <a:gd name="T62" fmla="*/ 3086 w 21600"/>
              <a:gd name="T63" fmla="*/ 15436 h 20357"/>
              <a:gd name="T64" fmla="*/ 3175 w 21600"/>
              <a:gd name="T65" fmla="*/ 12197 h 20357"/>
              <a:gd name="T66" fmla="*/ 3131 w 21600"/>
              <a:gd name="T67" fmla="*/ 15630 h 20357"/>
              <a:gd name="T68" fmla="*/ 3250 w 21600"/>
              <a:gd name="T69" fmla="*/ 18900 h 20357"/>
              <a:gd name="T70" fmla="*/ 4192 w 21600"/>
              <a:gd name="T71" fmla="*/ 15322 h 20357"/>
              <a:gd name="T72" fmla="*/ 4476 w 21600"/>
              <a:gd name="T73" fmla="*/ 15607 h 20357"/>
              <a:gd name="T74" fmla="*/ 5816 w 21600"/>
              <a:gd name="T75" fmla="*/ 18963 h 20357"/>
              <a:gd name="T76" fmla="*/ 6008 w 21600"/>
              <a:gd name="T77" fmla="*/ 18028 h 20357"/>
              <a:gd name="T78" fmla="*/ 6858 w 21600"/>
              <a:gd name="T79" fmla="*/ 15447 h 20357"/>
              <a:gd name="T80" fmla="*/ 8513 w 21600"/>
              <a:gd name="T81" fmla="*/ 15854 h 20357"/>
              <a:gd name="T82" fmla="*/ 8746 w 21600"/>
              <a:gd name="T83" fmla="*/ 17580 h 20357"/>
              <a:gd name="T84" fmla="*/ 9176 w 21600"/>
              <a:gd name="T85" fmla="*/ 18046 h 20357"/>
              <a:gd name="T86" fmla="*/ 9616 w 21600"/>
              <a:gd name="T87" fmla="*/ 19107 h 20357"/>
              <a:gd name="T88" fmla="*/ 10302 w 21600"/>
              <a:gd name="T89" fmla="*/ 15054 h 20357"/>
              <a:gd name="T90" fmla="*/ 10620 w 21600"/>
              <a:gd name="T91" fmla="*/ 18900 h 20357"/>
              <a:gd name="T92" fmla="*/ 11696 w 21600"/>
              <a:gd name="T93" fmla="*/ 17718 h 20357"/>
              <a:gd name="T94" fmla="*/ 12311 w 21600"/>
              <a:gd name="T95" fmla="*/ 14661 h 20357"/>
              <a:gd name="T96" fmla="*/ 13226 w 21600"/>
              <a:gd name="T97" fmla="*/ 17781 h 20357"/>
              <a:gd name="T98" fmla="*/ 14805 w 21600"/>
              <a:gd name="T99" fmla="*/ 19537 h 20357"/>
              <a:gd name="T100" fmla="*/ 16284 w 21600"/>
              <a:gd name="T101" fmla="*/ 20346 h 20357"/>
              <a:gd name="T102" fmla="*/ 17527 w 21600"/>
              <a:gd name="T103" fmla="*/ 18373 h 20357"/>
              <a:gd name="T104" fmla="*/ 18039 w 21600"/>
              <a:gd name="T105" fmla="*/ 18972 h 20357"/>
              <a:gd name="T106" fmla="*/ 19081 w 21600"/>
              <a:gd name="T107" fmla="*/ 16977 h 20357"/>
              <a:gd name="T108" fmla="*/ 20482 w 21600"/>
              <a:gd name="T109" fmla="*/ 15421 h 20357"/>
              <a:gd name="T110" fmla="*/ 21398 w 21600"/>
              <a:gd name="T111" fmla="*/ 16288 h 20357"/>
              <a:gd name="T112" fmla="*/ 21600 w 21600"/>
              <a:gd name="T113" fmla="*/ 4943 h 20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00" h="20357">
                <a:moveTo>
                  <a:pt x="21600" y="4943"/>
                </a:moveTo>
                <a:lnTo>
                  <a:pt x="21064" y="4943"/>
                </a:lnTo>
                <a:cubicBezTo>
                  <a:pt x="21057" y="4930"/>
                  <a:pt x="21050" y="4922"/>
                  <a:pt x="21042" y="4943"/>
                </a:cubicBezTo>
                <a:lnTo>
                  <a:pt x="20994" y="4943"/>
                </a:lnTo>
                <a:cubicBezTo>
                  <a:pt x="20962" y="4169"/>
                  <a:pt x="20997" y="3027"/>
                  <a:pt x="20955" y="2564"/>
                </a:cubicBezTo>
                <a:cubicBezTo>
                  <a:pt x="20829" y="4011"/>
                  <a:pt x="20818" y="1034"/>
                  <a:pt x="20685" y="2230"/>
                </a:cubicBezTo>
                <a:cubicBezTo>
                  <a:pt x="20723" y="3730"/>
                  <a:pt x="20730" y="3363"/>
                  <a:pt x="20636" y="4826"/>
                </a:cubicBezTo>
                <a:lnTo>
                  <a:pt x="20855" y="3770"/>
                </a:lnTo>
                <a:lnTo>
                  <a:pt x="20780" y="4943"/>
                </a:lnTo>
                <a:lnTo>
                  <a:pt x="20584" y="4943"/>
                </a:lnTo>
                <a:lnTo>
                  <a:pt x="20585" y="3435"/>
                </a:lnTo>
                <a:cubicBezTo>
                  <a:pt x="20428" y="1781"/>
                  <a:pt x="20306" y="5342"/>
                  <a:pt x="20102" y="4409"/>
                </a:cubicBezTo>
                <a:lnTo>
                  <a:pt x="20156" y="4943"/>
                </a:lnTo>
                <a:lnTo>
                  <a:pt x="19970" y="4943"/>
                </a:lnTo>
                <a:cubicBezTo>
                  <a:pt x="19958" y="4327"/>
                  <a:pt x="19932" y="3938"/>
                  <a:pt x="19912" y="3392"/>
                </a:cubicBezTo>
                <a:cubicBezTo>
                  <a:pt x="19915" y="4185"/>
                  <a:pt x="19803" y="3557"/>
                  <a:pt x="19759" y="4943"/>
                </a:cubicBezTo>
                <a:lnTo>
                  <a:pt x="19697" y="4943"/>
                </a:lnTo>
                <a:lnTo>
                  <a:pt x="19653" y="4153"/>
                </a:lnTo>
                <a:cubicBezTo>
                  <a:pt x="19592" y="3903"/>
                  <a:pt x="19550" y="4331"/>
                  <a:pt x="19514" y="4943"/>
                </a:cubicBezTo>
                <a:lnTo>
                  <a:pt x="19333" y="4943"/>
                </a:lnTo>
                <a:cubicBezTo>
                  <a:pt x="19341" y="4650"/>
                  <a:pt x="19357" y="4365"/>
                  <a:pt x="19389" y="4073"/>
                </a:cubicBezTo>
                <a:cubicBezTo>
                  <a:pt x="19336" y="4060"/>
                  <a:pt x="19288" y="3833"/>
                  <a:pt x="19287" y="4694"/>
                </a:cubicBezTo>
                <a:cubicBezTo>
                  <a:pt x="19274" y="4357"/>
                  <a:pt x="19245" y="4626"/>
                  <a:pt x="19212" y="4943"/>
                </a:cubicBezTo>
                <a:lnTo>
                  <a:pt x="17785" y="4943"/>
                </a:lnTo>
                <a:cubicBezTo>
                  <a:pt x="17757" y="4296"/>
                  <a:pt x="17710" y="4640"/>
                  <a:pt x="17659" y="4943"/>
                </a:cubicBezTo>
                <a:lnTo>
                  <a:pt x="17528" y="4943"/>
                </a:lnTo>
                <a:cubicBezTo>
                  <a:pt x="17518" y="4833"/>
                  <a:pt x="17509" y="4697"/>
                  <a:pt x="17499" y="4499"/>
                </a:cubicBezTo>
                <a:lnTo>
                  <a:pt x="17526" y="4258"/>
                </a:lnTo>
                <a:cubicBezTo>
                  <a:pt x="17472" y="3360"/>
                  <a:pt x="17401" y="4266"/>
                  <a:pt x="17321" y="4943"/>
                </a:cubicBezTo>
                <a:lnTo>
                  <a:pt x="17183" y="4943"/>
                </a:lnTo>
                <a:cubicBezTo>
                  <a:pt x="17183" y="4928"/>
                  <a:pt x="17183" y="4911"/>
                  <a:pt x="17183" y="4897"/>
                </a:cubicBezTo>
                <a:cubicBezTo>
                  <a:pt x="17182" y="4913"/>
                  <a:pt x="17181" y="4927"/>
                  <a:pt x="17180" y="4943"/>
                </a:cubicBezTo>
                <a:lnTo>
                  <a:pt x="16671" y="4943"/>
                </a:lnTo>
                <a:cubicBezTo>
                  <a:pt x="16630" y="3940"/>
                  <a:pt x="16579" y="4597"/>
                  <a:pt x="16533" y="4943"/>
                </a:cubicBezTo>
                <a:lnTo>
                  <a:pt x="16483" y="4943"/>
                </a:lnTo>
                <a:lnTo>
                  <a:pt x="16490" y="4082"/>
                </a:lnTo>
                <a:cubicBezTo>
                  <a:pt x="16432" y="4188"/>
                  <a:pt x="16394" y="4535"/>
                  <a:pt x="16361" y="4943"/>
                </a:cubicBezTo>
                <a:lnTo>
                  <a:pt x="15826" y="4943"/>
                </a:lnTo>
                <a:cubicBezTo>
                  <a:pt x="15844" y="4759"/>
                  <a:pt x="15860" y="4575"/>
                  <a:pt x="15875" y="4387"/>
                </a:cubicBezTo>
                <a:cubicBezTo>
                  <a:pt x="15829" y="4374"/>
                  <a:pt x="15738" y="4470"/>
                  <a:pt x="15676" y="4943"/>
                </a:cubicBezTo>
                <a:lnTo>
                  <a:pt x="15061" y="4943"/>
                </a:lnTo>
                <a:cubicBezTo>
                  <a:pt x="15012" y="4684"/>
                  <a:pt x="14969" y="4210"/>
                  <a:pt x="14945" y="3246"/>
                </a:cubicBezTo>
                <a:cubicBezTo>
                  <a:pt x="14712" y="5027"/>
                  <a:pt x="14483" y="2488"/>
                  <a:pt x="14212" y="2774"/>
                </a:cubicBezTo>
                <a:cubicBezTo>
                  <a:pt x="14281" y="5487"/>
                  <a:pt x="14208" y="4323"/>
                  <a:pt x="14169" y="4943"/>
                </a:cubicBezTo>
                <a:lnTo>
                  <a:pt x="13913" y="4943"/>
                </a:lnTo>
                <a:lnTo>
                  <a:pt x="13865" y="4361"/>
                </a:lnTo>
                <a:cubicBezTo>
                  <a:pt x="13819" y="3242"/>
                  <a:pt x="13925" y="3513"/>
                  <a:pt x="13919" y="2651"/>
                </a:cubicBezTo>
                <a:cubicBezTo>
                  <a:pt x="13781" y="2356"/>
                  <a:pt x="13861" y="1021"/>
                  <a:pt x="13770" y="0"/>
                </a:cubicBezTo>
                <a:cubicBezTo>
                  <a:pt x="13788" y="1375"/>
                  <a:pt x="13721" y="1969"/>
                  <a:pt x="13643" y="1444"/>
                </a:cubicBezTo>
                <a:lnTo>
                  <a:pt x="13754" y="3218"/>
                </a:lnTo>
                <a:cubicBezTo>
                  <a:pt x="13560" y="5264"/>
                  <a:pt x="13587" y="-10"/>
                  <a:pt x="13392" y="2017"/>
                </a:cubicBezTo>
                <a:lnTo>
                  <a:pt x="13453" y="807"/>
                </a:lnTo>
                <a:cubicBezTo>
                  <a:pt x="13353" y="1521"/>
                  <a:pt x="13084" y="783"/>
                  <a:pt x="12986" y="3872"/>
                </a:cubicBezTo>
                <a:cubicBezTo>
                  <a:pt x="12969" y="3428"/>
                  <a:pt x="12945" y="2376"/>
                  <a:pt x="12989" y="2098"/>
                </a:cubicBezTo>
                <a:cubicBezTo>
                  <a:pt x="12750" y="1635"/>
                  <a:pt x="12458" y="5385"/>
                  <a:pt x="12272" y="3483"/>
                </a:cubicBezTo>
                <a:lnTo>
                  <a:pt x="12290" y="2543"/>
                </a:lnTo>
                <a:cubicBezTo>
                  <a:pt x="12245" y="2815"/>
                  <a:pt x="12212" y="4309"/>
                  <a:pt x="12157" y="3363"/>
                </a:cubicBezTo>
                <a:cubicBezTo>
                  <a:pt x="12159" y="2975"/>
                  <a:pt x="12175" y="2425"/>
                  <a:pt x="12154" y="2370"/>
                </a:cubicBezTo>
                <a:cubicBezTo>
                  <a:pt x="12130" y="2694"/>
                  <a:pt x="12035" y="4017"/>
                  <a:pt x="11976" y="3469"/>
                </a:cubicBezTo>
                <a:lnTo>
                  <a:pt x="12027" y="2411"/>
                </a:lnTo>
                <a:cubicBezTo>
                  <a:pt x="11840" y="1423"/>
                  <a:pt x="11722" y="3680"/>
                  <a:pt x="11582" y="4943"/>
                </a:cubicBezTo>
                <a:lnTo>
                  <a:pt x="11469" y="4943"/>
                </a:lnTo>
                <a:cubicBezTo>
                  <a:pt x="11442" y="2713"/>
                  <a:pt x="11283" y="1925"/>
                  <a:pt x="11199" y="1516"/>
                </a:cubicBezTo>
                <a:lnTo>
                  <a:pt x="11202" y="1124"/>
                </a:lnTo>
                <a:cubicBezTo>
                  <a:pt x="10931" y="783"/>
                  <a:pt x="10741" y="3419"/>
                  <a:pt x="10490" y="4505"/>
                </a:cubicBezTo>
                <a:cubicBezTo>
                  <a:pt x="10334" y="1501"/>
                  <a:pt x="9962" y="3246"/>
                  <a:pt x="9711" y="1562"/>
                </a:cubicBezTo>
                <a:cubicBezTo>
                  <a:pt x="9749" y="2064"/>
                  <a:pt x="9705" y="3719"/>
                  <a:pt x="9660" y="3997"/>
                </a:cubicBezTo>
                <a:cubicBezTo>
                  <a:pt x="9601" y="3435"/>
                  <a:pt x="9497" y="5918"/>
                  <a:pt x="9507" y="3379"/>
                </a:cubicBezTo>
                <a:lnTo>
                  <a:pt x="9528" y="3428"/>
                </a:lnTo>
                <a:cubicBezTo>
                  <a:pt x="9483" y="937"/>
                  <a:pt x="9363" y="1599"/>
                  <a:pt x="9268" y="1531"/>
                </a:cubicBezTo>
                <a:lnTo>
                  <a:pt x="9253" y="4853"/>
                </a:lnTo>
                <a:cubicBezTo>
                  <a:pt x="9006" y="22"/>
                  <a:pt x="8605" y="6627"/>
                  <a:pt x="8471" y="2301"/>
                </a:cubicBezTo>
                <a:cubicBezTo>
                  <a:pt x="8411" y="3131"/>
                  <a:pt x="8337" y="3122"/>
                  <a:pt x="8278" y="3951"/>
                </a:cubicBezTo>
                <a:lnTo>
                  <a:pt x="8281" y="2170"/>
                </a:lnTo>
                <a:cubicBezTo>
                  <a:pt x="8116" y="1716"/>
                  <a:pt x="8034" y="1492"/>
                  <a:pt x="7830" y="1917"/>
                </a:cubicBezTo>
                <a:lnTo>
                  <a:pt x="7871" y="644"/>
                </a:lnTo>
                <a:cubicBezTo>
                  <a:pt x="7786" y="560"/>
                  <a:pt x="7747" y="3413"/>
                  <a:pt x="7690" y="4943"/>
                </a:cubicBezTo>
                <a:lnTo>
                  <a:pt x="7608" y="4943"/>
                </a:lnTo>
                <a:lnTo>
                  <a:pt x="7588" y="3225"/>
                </a:lnTo>
                <a:cubicBezTo>
                  <a:pt x="7387" y="3267"/>
                  <a:pt x="7184" y="933"/>
                  <a:pt x="6985" y="3343"/>
                </a:cubicBezTo>
                <a:cubicBezTo>
                  <a:pt x="6988" y="2955"/>
                  <a:pt x="6994" y="2185"/>
                  <a:pt x="7027" y="2078"/>
                </a:cubicBezTo>
                <a:cubicBezTo>
                  <a:pt x="6935" y="2011"/>
                  <a:pt x="6679" y="390"/>
                  <a:pt x="6693" y="3587"/>
                </a:cubicBezTo>
                <a:cubicBezTo>
                  <a:pt x="6671" y="1786"/>
                  <a:pt x="6482" y="3751"/>
                  <a:pt x="6380" y="4742"/>
                </a:cubicBezTo>
                <a:lnTo>
                  <a:pt x="6397" y="2990"/>
                </a:lnTo>
                <a:cubicBezTo>
                  <a:pt x="6361" y="3851"/>
                  <a:pt x="6339" y="4470"/>
                  <a:pt x="6318" y="4943"/>
                </a:cubicBezTo>
                <a:lnTo>
                  <a:pt x="5669" y="4943"/>
                </a:lnTo>
                <a:cubicBezTo>
                  <a:pt x="5668" y="4914"/>
                  <a:pt x="5668" y="4886"/>
                  <a:pt x="5667" y="4857"/>
                </a:cubicBezTo>
                <a:cubicBezTo>
                  <a:pt x="5667" y="4885"/>
                  <a:pt x="5666" y="4915"/>
                  <a:pt x="5666" y="4943"/>
                </a:cubicBezTo>
                <a:lnTo>
                  <a:pt x="5401" y="4943"/>
                </a:lnTo>
                <a:cubicBezTo>
                  <a:pt x="5396" y="3417"/>
                  <a:pt x="5292" y="3095"/>
                  <a:pt x="5378" y="913"/>
                </a:cubicBezTo>
                <a:cubicBezTo>
                  <a:pt x="5289" y="2130"/>
                  <a:pt x="5136" y="4777"/>
                  <a:pt x="5027" y="4017"/>
                </a:cubicBezTo>
                <a:cubicBezTo>
                  <a:pt x="5022" y="3861"/>
                  <a:pt x="5017" y="3707"/>
                  <a:pt x="5013" y="3458"/>
                </a:cubicBezTo>
                <a:lnTo>
                  <a:pt x="5024" y="3277"/>
                </a:lnTo>
                <a:cubicBezTo>
                  <a:pt x="4999" y="3116"/>
                  <a:pt x="4977" y="3267"/>
                  <a:pt x="4956" y="3538"/>
                </a:cubicBezTo>
                <a:cubicBezTo>
                  <a:pt x="4921" y="3273"/>
                  <a:pt x="4899" y="3076"/>
                  <a:pt x="4866" y="3052"/>
                </a:cubicBezTo>
                <a:cubicBezTo>
                  <a:pt x="4853" y="1716"/>
                  <a:pt x="4738" y="2331"/>
                  <a:pt x="4682" y="2265"/>
                </a:cubicBezTo>
                <a:cubicBezTo>
                  <a:pt x="4686" y="3918"/>
                  <a:pt x="4623" y="3779"/>
                  <a:pt x="4671" y="4943"/>
                </a:cubicBezTo>
                <a:lnTo>
                  <a:pt x="4496" y="4943"/>
                </a:lnTo>
                <a:cubicBezTo>
                  <a:pt x="4457" y="4256"/>
                  <a:pt x="4425" y="3637"/>
                  <a:pt x="4416" y="2985"/>
                </a:cubicBezTo>
                <a:cubicBezTo>
                  <a:pt x="4293" y="3702"/>
                  <a:pt x="4139" y="3731"/>
                  <a:pt x="4023" y="4943"/>
                </a:cubicBezTo>
                <a:lnTo>
                  <a:pt x="3901" y="4943"/>
                </a:lnTo>
                <a:cubicBezTo>
                  <a:pt x="3905" y="4884"/>
                  <a:pt x="3909" y="4817"/>
                  <a:pt x="3912" y="4727"/>
                </a:cubicBezTo>
                <a:cubicBezTo>
                  <a:pt x="3902" y="4812"/>
                  <a:pt x="3891" y="4881"/>
                  <a:pt x="3880" y="4943"/>
                </a:cubicBezTo>
                <a:lnTo>
                  <a:pt x="3526" y="4943"/>
                </a:lnTo>
                <a:lnTo>
                  <a:pt x="3527" y="4912"/>
                </a:lnTo>
                <a:cubicBezTo>
                  <a:pt x="3402" y="3504"/>
                  <a:pt x="3295" y="4022"/>
                  <a:pt x="3190" y="4943"/>
                </a:cubicBezTo>
                <a:lnTo>
                  <a:pt x="0" y="4943"/>
                </a:lnTo>
                <a:lnTo>
                  <a:pt x="21" y="8882"/>
                </a:lnTo>
                <a:lnTo>
                  <a:pt x="29" y="8882"/>
                </a:lnTo>
                <a:lnTo>
                  <a:pt x="29" y="14010"/>
                </a:lnTo>
                <a:cubicBezTo>
                  <a:pt x="32" y="14222"/>
                  <a:pt x="69" y="13664"/>
                  <a:pt x="68" y="14013"/>
                </a:cubicBezTo>
                <a:cubicBezTo>
                  <a:pt x="88" y="13349"/>
                  <a:pt x="1288" y="15980"/>
                  <a:pt x="1346" y="15865"/>
                </a:cubicBezTo>
                <a:cubicBezTo>
                  <a:pt x="1239" y="19183"/>
                  <a:pt x="1563" y="16060"/>
                  <a:pt x="1535" y="19618"/>
                </a:cubicBezTo>
                <a:cubicBezTo>
                  <a:pt x="1614" y="16634"/>
                  <a:pt x="1819" y="18292"/>
                  <a:pt x="1959" y="16637"/>
                </a:cubicBezTo>
                <a:cubicBezTo>
                  <a:pt x="1951" y="16874"/>
                  <a:pt x="1936" y="17354"/>
                  <a:pt x="1923" y="17202"/>
                </a:cubicBezTo>
                <a:cubicBezTo>
                  <a:pt x="2002" y="17450"/>
                  <a:pt x="2025" y="18349"/>
                  <a:pt x="2075" y="18912"/>
                </a:cubicBezTo>
                <a:cubicBezTo>
                  <a:pt x="2085" y="16449"/>
                  <a:pt x="2207" y="15885"/>
                  <a:pt x="2273" y="14365"/>
                </a:cubicBezTo>
                <a:cubicBezTo>
                  <a:pt x="2369" y="16743"/>
                  <a:pt x="2215" y="17257"/>
                  <a:pt x="2245" y="19542"/>
                </a:cubicBezTo>
                <a:cubicBezTo>
                  <a:pt x="2240" y="17545"/>
                  <a:pt x="2412" y="17549"/>
                  <a:pt x="2379" y="15885"/>
                </a:cubicBezTo>
                <a:cubicBezTo>
                  <a:pt x="2453" y="17356"/>
                  <a:pt x="2442" y="16599"/>
                  <a:pt x="2480" y="18641"/>
                </a:cubicBezTo>
                <a:cubicBezTo>
                  <a:pt x="2493" y="15559"/>
                  <a:pt x="2549" y="18120"/>
                  <a:pt x="2610" y="16227"/>
                </a:cubicBezTo>
                <a:cubicBezTo>
                  <a:pt x="2716" y="17746"/>
                  <a:pt x="2209" y="19114"/>
                  <a:pt x="2326" y="18175"/>
                </a:cubicBezTo>
                <a:cubicBezTo>
                  <a:pt x="2382" y="19120"/>
                  <a:pt x="2278" y="20212"/>
                  <a:pt x="2278" y="20212"/>
                </a:cubicBezTo>
                <a:cubicBezTo>
                  <a:pt x="2397" y="20262"/>
                  <a:pt x="2334" y="17938"/>
                  <a:pt x="2359" y="16603"/>
                </a:cubicBezTo>
                <a:cubicBezTo>
                  <a:pt x="2501" y="15945"/>
                  <a:pt x="2425" y="18315"/>
                  <a:pt x="2473" y="19502"/>
                </a:cubicBezTo>
                <a:cubicBezTo>
                  <a:pt x="2562" y="18888"/>
                  <a:pt x="2630" y="16755"/>
                  <a:pt x="2696" y="16846"/>
                </a:cubicBezTo>
                <a:cubicBezTo>
                  <a:pt x="2701" y="17228"/>
                  <a:pt x="2713" y="17368"/>
                  <a:pt x="2698" y="17847"/>
                </a:cubicBezTo>
                <a:cubicBezTo>
                  <a:pt x="2792" y="16000"/>
                  <a:pt x="2977" y="17757"/>
                  <a:pt x="3086" y="15436"/>
                </a:cubicBezTo>
                <a:cubicBezTo>
                  <a:pt x="3094" y="15642"/>
                  <a:pt x="3098" y="15837"/>
                  <a:pt x="3100" y="16012"/>
                </a:cubicBezTo>
                <a:cubicBezTo>
                  <a:pt x="3082" y="14849"/>
                  <a:pt x="3080" y="13666"/>
                  <a:pt x="3083" y="12825"/>
                </a:cubicBezTo>
                <a:cubicBezTo>
                  <a:pt x="3116" y="12801"/>
                  <a:pt x="3145" y="12279"/>
                  <a:pt x="3167" y="12197"/>
                </a:cubicBezTo>
                <a:lnTo>
                  <a:pt x="3175" y="12197"/>
                </a:lnTo>
                <a:cubicBezTo>
                  <a:pt x="3186" y="12212"/>
                  <a:pt x="3196" y="12376"/>
                  <a:pt x="3202" y="12876"/>
                </a:cubicBezTo>
                <a:cubicBezTo>
                  <a:pt x="3170" y="12832"/>
                  <a:pt x="3167" y="13444"/>
                  <a:pt x="3152" y="13918"/>
                </a:cubicBezTo>
                <a:lnTo>
                  <a:pt x="3208" y="13258"/>
                </a:lnTo>
                <a:cubicBezTo>
                  <a:pt x="3258" y="15441"/>
                  <a:pt x="3131" y="14014"/>
                  <a:pt x="3131" y="15630"/>
                </a:cubicBezTo>
                <a:cubicBezTo>
                  <a:pt x="3240" y="14919"/>
                  <a:pt x="3367" y="13113"/>
                  <a:pt x="3451" y="13729"/>
                </a:cubicBezTo>
                <a:cubicBezTo>
                  <a:pt x="3468" y="15865"/>
                  <a:pt x="3255" y="14448"/>
                  <a:pt x="3367" y="16347"/>
                </a:cubicBezTo>
                <a:lnTo>
                  <a:pt x="3238" y="15532"/>
                </a:lnTo>
                <a:cubicBezTo>
                  <a:pt x="3336" y="18900"/>
                  <a:pt x="3159" y="15295"/>
                  <a:pt x="3250" y="18900"/>
                </a:cubicBezTo>
                <a:cubicBezTo>
                  <a:pt x="3420" y="19519"/>
                  <a:pt x="3440" y="17812"/>
                  <a:pt x="3610" y="18435"/>
                </a:cubicBezTo>
                <a:cubicBezTo>
                  <a:pt x="3648" y="17248"/>
                  <a:pt x="3597" y="16679"/>
                  <a:pt x="3635" y="15492"/>
                </a:cubicBezTo>
                <a:cubicBezTo>
                  <a:pt x="3876" y="13360"/>
                  <a:pt x="3825" y="20863"/>
                  <a:pt x="4002" y="18017"/>
                </a:cubicBezTo>
                <a:cubicBezTo>
                  <a:pt x="4048" y="16594"/>
                  <a:pt x="4066" y="13892"/>
                  <a:pt x="4192" y="15322"/>
                </a:cubicBezTo>
                <a:lnTo>
                  <a:pt x="4149" y="17736"/>
                </a:lnTo>
                <a:cubicBezTo>
                  <a:pt x="4314" y="17974"/>
                  <a:pt x="4243" y="14265"/>
                  <a:pt x="4416" y="15890"/>
                </a:cubicBezTo>
                <a:cubicBezTo>
                  <a:pt x="4385" y="16838"/>
                  <a:pt x="4286" y="16689"/>
                  <a:pt x="4311" y="16977"/>
                </a:cubicBezTo>
                <a:cubicBezTo>
                  <a:pt x="4423" y="18884"/>
                  <a:pt x="4390" y="15607"/>
                  <a:pt x="4476" y="15607"/>
                </a:cubicBezTo>
                <a:lnTo>
                  <a:pt x="4494" y="17746"/>
                </a:lnTo>
                <a:cubicBezTo>
                  <a:pt x="4669" y="17409"/>
                  <a:pt x="4862" y="15865"/>
                  <a:pt x="5056" y="15475"/>
                </a:cubicBezTo>
                <a:cubicBezTo>
                  <a:pt x="5045" y="16111"/>
                  <a:pt x="5012" y="16780"/>
                  <a:pt x="5058" y="17434"/>
                </a:cubicBezTo>
                <a:cubicBezTo>
                  <a:pt x="5302" y="16366"/>
                  <a:pt x="5580" y="17695"/>
                  <a:pt x="5816" y="18963"/>
                </a:cubicBezTo>
                <a:lnTo>
                  <a:pt x="5907" y="17118"/>
                </a:lnTo>
                <a:cubicBezTo>
                  <a:pt x="5928" y="17139"/>
                  <a:pt x="5946" y="17951"/>
                  <a:pt x="5923" y="18310"/>
                </a:cubicBezTo>
                <a:cubicBezTo>
                  <a:pt x="6015" y="19009"/>
                  <a:pt x="5928" y="17139"/>
                  <a:pt x="5972" y="16413"/>
                </a:cubicBezTo>
                <a:cubicBezTo>
                  <a:pt x="6024" y="16284"/>
                  <a:pt x="6041" y="17474"/>
                  <a:pt x="6008" y="18028"/>
                </a:cubicBezTo>
                <a:cubicBezTo>
                  <a:pt x="6170" y="16464"/>
                  <a:pt x="6470" y="14657"/>
                  <a:pt x="6642" y="16634"/>
                </a:cubicBezTo>
                <a:lnTo>
                  <a:pt x="6608" y="17182"/>
                </a:lnTo>
                <a:cubicBezTo>
                  <a:pt x="6741" y="17931"/>
                  <a:pt x="6759" y="13399"/>
                  <a:pt x="6882" y="15120"/>
                </a:cubicBezTo>
                <a:lnTo>
                  <a:pt x="6858" y="15447"/>
                </a:lnTo>
                <a:cubicBezTo>
                  <a:pt x="7148" y="16247"/>
                  <a:pt x="7467" y="14557"/>
                  <a:pt x="7688" y="17343"/>
                </a:cubicBezTo>
                <a:cubicBezTo>
                  <a:pt x="7730" y="14685"/>
                  <a:pt x="7974" y="18529"/>
                  <a:pt x="7993" y="14821"/>
                </a:cubicBezTo>
                <a:cubicBezTo>
                  <a:pt x="8158" y="16659"/>
                  <a:pt x="8111" y="17320"/>
                  <a:pt x="8343" y="18556"/>
                </a:cubicBezTo>
                <a:cubicBezTo>
                  <a:pt x="8405" y="18727"/>
                  <a:pt x="8436" y="16241"/>
                  <a:pt x="8513" y="15854"/>
                </a:cubicBezTo>
                <a:lnTo>
                  <a:pt x="8514" y="17793"/>
                </a:lnTo>
                <a:lnTo>
                  <a:pt x="8619" y="15759"/>
                </a:lnTo>
                <a:lnTo>
                  <a:pt x="8674" y="18077"/>
                </a:lnTo>
                <a:lnTo>
                  <a:pt x="8746" y="17580"/>
                </a:lnTo>
                <a:cubicBezTo>
                  <a:pt x="8717" y="17466"/>
                  <a:pt x="8685" y="16710"/>
                  <a:pt x="8690" y="16151"/>
                </a:cubicBezTo>
                <a:cubicBezTo>
                  <a:pt x="8802" y="15274"/>
                  <a:pt x="8964" y="17502"/>
                  <a:pt x="8967" y="18495"/>
                </a:cubicBezTo>
                <a:lnTo>
                  <a:pt x="9233" y="16855"/>
                </a:lnTo>
                <a:cubicBezTo>
                  <a:pt x="9228" y="17433"/>
                  <a:pt x="9203" y="17729"/>
                  <a:pt x="9176" y="18046"/>
                </a:cubicBezTo>
                <a:cubicBezTo>
                  <a:pt x="9272" y="17015"/>
                  <a:pt x="9183" y="20301"/>
                  <a:pt x="9303" y="18629"/>
                </a:cubicBezTo>
                <a:cubicBezTo>
                  <a:pt x="9286" y="18189"/>
                  <a:pt x="9312" y="17474"/>
                  <a:pt x="9315" y="17082"/>
                </a:cubicBezTo>
                <a:cubicBezTo>
                  <a:pt x="9380" y="18254"/>
                  <a:pt x="9528" y="18265"/>
                  <a:pt x="9637" y="17772"/>
                </a:cubicBezTo>
                <a:lnTo>
                  <a:pt x="9616" y="19107"/>
                </a:lnTo>
                <a:cubicBezTo>
                  <a:pt x="9814" y="19447"/>
                  <a:pt x="10033" y="18466"/>
                  <a:pt x="10254" y="18490"/>
                </a:cubicBezTo>
                <a:cubicBezTo>
                  <a:pt x="10175" y="17867"/>
                  <a:pt x="10193" y="15552"/>
                  <a:pt x="10258" y="15329"/>
                </a:cubicBezTo>
                <a:lnTo>
                  <a:pt x="10284" y="17379"/>
                </a:lnTo>
                <a:cubicBezTo>
                  <a:pt x="10326" y="16111"/>
                  <a:pt x="10216" y="16603"/>
                  <a:pt x="10302" y="15054"/>
                </a:cubicBezTo>
                <a:cubicBezTo>
                  <a:pt x="10385" y="15291"/>
                  <a:pt x="10358" y="17384"/>
                  <a:pt x="10310" y="18050"/>
                </a:cubicBezTo>
                <a:lnTo>
                  <a:pt x="10411" y="17339"/>
                </a:lnTo>
                <a:cubicBezTo>
                  <a:pt x="10417" y="17951"/>
                  <a:pt x="10393" y="18274"/>
                  <a:pt x="10387" y="19054"/>
                </a:cubicBezTo>
                <a:cubicBezTo>
                  <a:pt x="10428" y="17781"/>
                  <a:pt x="10561" y="21109"/>
                  <a:pt x="10620" y="18900"/>
                </a:cubicBezTo>
                <a:lnTo>
                  <a:pt x="10626" y="19510"/>
                </a:lnTo>
                <a:cubicBezTo>
                  <a:pt x="10848" y="19527"/>
                  <a:pt x="10948" y="18822"/>
                  <a:pt x="11128" y="18719"/>
                </a:cubicBezTo>
                <a:cubicBezTo>
                  <a:pt x="11132" y="16950"/>
                  <a:pt x="11202" y="17343"/>
                  <a:pt x="11256" y="15914"/>
                </a:cubicBezTo>
                <a:cubicBezTo>
                  <a:pt x="11389" y="16478"/>
                  <a:pt x="11536" y="17867"/>
                  <a:pt x="11696" y="17718"/>
                </a:cubicBezTo>
                <a:cubicBezTo>
                  <a:pt x="11808" y="16838"/>
                  <a:pt x="11729" y="16221"/>
                  <a:pt x="11779" y="15170"/>
                </a:cubicBezTo>
                <a:cubicBezTo>
                  <a:pt x="11787" y="16780"/>
                  <a:pt x="11947" y="16630"/>
                  <a:pt x="11864" y="17786"/>
                </a:cubicBezTo>
                <a:cubicBezTo>
                  <a:pt x="12056" y="17525"/>
                  <a:pt x="12109" y="17466"/>
                  <a:pt x="12352" y="16158"/>
                </a:cubicBezTo>
                <a:cubicBezTo>
                  <a:pt x="12325" y="15497"/>
                  <a:pt x="12296" y="15211"/>
                  <a:pt x="12311" y="14661"/>
                </a:cubicBezTo>
                <a:cubicBezTo>
                  <a:pt x="12355" y="14396"/>
                  <a:pt x="12411" y="15337"/>
                  <a:pt x="12405" y="16111"/>
                </a:cubicBezTo>
                <a:lnTo>
                  <a:pt x="12393" y="16276"/>
                </a:lnTo>
                <a:cubicBezTo>
                  <a:pt x="12665" y="13863"/>
                  <a:pt x="13021" y="20973"/>
                  <a:pt x="13238" y="17615"/>
                </a:cubicBezTo>
                <a:lnTo>
                  <a:pt x="13226" y="17781"/>
                </a:lnTo>
                <a:lnTo>
                  <a:pt x="13451" y="16031"/>
                </a:lnTo>
                <a:cubicBezTo>
                  <a:pt x="13554" y="16310"/>
                  <a:pt x="13389" y="17242"/>
                  <a:pt x="13465" y="18238"/>
                </a:cubicBezTo>
                <a:cubicBezTo>
                  <a:pt x="13708" y="15552"/>
                  <a:pt x="13848" y="18629"/>
                  <a:pt x="14048" y="16838"/>
                </a:cubicBezTo>
                <a:cubicBezTo>
                  <a:pt x="14203" y="21590"/>
                  <a:pt x="14597" y="16504"/>
                  <a:pt x="14805" y="19537"/>
                </a:cubicBezTo>
                <a:lnTo>
                  <a:pt x="14793" y="18418"/>
                </a:lnTo>
                <a:cubicBezTo>
                  <a:pt x="14847" y="17320"/>
                  <a:pt x="14858" y="19058"/>
                  <a:pt x="14898" y="19315"/>
                </a:cubicBezTo>
                <a:cubicBezTo>
                  <a:pt x="14892" y="18446"/>
                  <a:pt x="14840" y="18310"/>
                  <a:pt x="14873" y="17701"/>
                </a:cubicBezTo>
                <a:cubicBezTo>
                  <a:pt x="15330" y="16353"/>
                  <a:pt x="15816" y="19336"/>
                  <a:pt x="16284" y="20346"/>
                </a:cubicBezTo>
                <a:cubicBezTo>
                  <a:pt x="16455" y="20646"/>
                  <a:pt x="16381" y="14557"/>
                  <a:pt x="16597" y="17228"/>
                </a:cubicBezTo>
                <a:lnTo>
                  <a:pt x="16536" y="19305"/>
                </a:lnTo>
                <a:cubicBezTo>
                  <a:pt x="16882" y="16815"/>
                  <a:pt x="17243" y="19391"/>
                  <a:pt x="17581" y="17277"/>
                </a:cubicBezTo>
                <a:cubicBezTo>
                  <a:pt x="17561" y="17757"/>
                  <a:pt x="17560" y="18380"/>
                  <a:pt x="17527" y="18373"/>
                </a:cubicBezTo>
                <a:cubicBezTo>
                  <a:pt x="17599" y="19882"/>
                  <a:pt x="17792" y="18446"/>
                  <a:pt x="17793" y="17213"/>
                </a:cubicBezTo>
                <a:cubicBezTo>
                  <a:pt x="17846" y="17354"/>
                  <a:pt x="17805" y="18328"/>
                  <a:pt x="17837" y="18954"/>
                </a:cubicBezTo>
                <a:cubicBezTo>
                  <a:pt x="17909" y="19844"/>
                  <a:pt x="18017" y="17027"/>
                  <a:pt x="18056" y="18529"/>
                </a:cubicBezTo>
                <a:cubicBezTo>
                  <a:pt x="18060" y="18688"/>
                  <a:pt x="18050" y="18848"/>
                  <a:pt x="18039" y="18972"/>
                </a:cubicBezTo>
                <a:cubicBezTo>
                  <a:pt x="18100" y="18558"/>
                  <a:pt x="18236" y="19156"/>
                  <a:pt x="18195" y="17580"/>
                </a:cubicBezTo>
                <a:cubicBezTo>
                  <a:pt x="18322" y="18410"/>
                  <a:pt x="18438" y="16805"/>
                  <a:pt x="18539" y="17837"/>
                </a:cubicBezTo>
                <a:cubicBezTo>
                  <a:pt x="18605" y="15890"/>
                  <a:pt x="18757" y="18774"/>
                  <a:pt x="18778" y="16020"/>
                </a:cubicBezTo>
                <a:cubicBezTo>
                  <a:pt x="18769" y="18865"/>
                  <a:pt x="19000" y="18315"/>
                  <a:pt x="19081" y="16977"/>
                </a:cubicBezTo>
                <a:cubicBezTo>
                  <a:pt x="19054" y="17837"/>
                  <a:pt x="19151" y="17867"/>
                  <a:pt x="19119" y="19058"/>
                </a:cubicBezTo>
                <a:cubicBezTo>
                  <a:pt x="19211" y="19019"/>
                  <a:pt x="19295" y="18490"/>
                  <a:pt x="19279" y="17029"/>
                </a:cubicBezTo>
                <a:cubicBezTo>
                  <a:pt x="19448" y="20432"/>
                  <a:pt x="19618" y="14290"/>
                  <a:pt x="19713" y="18651"/>
                </a:cubicBezTo>
                <a:cubicBezTo>
                  <a:pt x="19985" y="17123"/>
                  <a:pt x="20237" y="16089"/>
                  <a:pt x="20482" y="15421"/>
                </a:cubicBezTo>
                <a:cubicBezTo>
                  <a:pt x="20473" y="18258"/>
                  <a:pt x="20211" y="15704"/>
                  <a:pt x="20222" y="18682"/>
                </a:cubicBezTo>
                <a:cubicBezTo>
                  <a:pt x="20454" y="17514"/>
                  <a:pt x="20588" y="15079"/>
                  <a:pt x="20819" y="15764"/>
                </a:cubicBezTo>
                <a:cubicBezTo>
                  <a:pt x="20878" y="16151"/>
                  <a:pt x="20785" y="16993"/>
                  <a:pt x="20765" y="17479"/>
                </a:cubicBezTo>
                <a:cubicBezTo>
                  <a:pt x="20989" y="16351"/>
                  <a:pt x="21198" y="17586"/>
                  <a:pt x="21398" y="16288"/>
                </a:cubicBezTo>
                <a:lnTo>
                  <a:pt x="21472" y="12197"/>
                </a:lnTo>
                <a:lnTo>
                  <a:pt x="21600" y="8787"/>
                </a:lnTo>
                <a:cubicBezTo>
                  <a:pt x="21600" y="8787"/>
                  <a:pt x="21600" y="4943"/>
                  <a:pt x="21600" y="4943"/>
                </a:cubicBezTo>
                <a:close/>
                <a:moveTo>
                  <a:pt x="21600" y="4943"/>
                </a:moveTo>
              </a:path>
            </a:pathLst>
          </a:custGeom>
          <a:solidFill>
            <a:srgbClr val="4D4D4D">
              <a:alpha val="21000"/>
            </a:srgbClr>
          </a:solidFill>
          <a:ln>
            <a:noFill/>
          </a:ln>
          <a:extLst>
            <a:ext uri="{91240B29-F687-4f45-9708-019B960494DF}">
              <a14:hiddenLine xmlns:lc="http://schemas.openxmlformats.org/drawingml/2006/lockedCanvas"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87A34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93" name="AutoShape 128">
            <a:extLst>
              <a:ext uri="{FF2B5EF4-FFF2-40B4-BE49-F238E27FC236}">
                <a16:creationId xmlns:a16="http://schemas.microsoft.com/office/drawing/2014/main" id="{56E6ABA8-CBF2-4DBD-A85D-69B253191A48}"/>
              </a:ext>
            </a:extLst>
          </p:cNvPr>
          <p:cNvSpPr>
            <a:spLocks/>
          </p:cNvSpPr>
          <p:nvPr/>
        </p:nvSpPr>
        <p:spPr bwMode="auto">
          <a:xfrm rot="5400000" flipV="1">
            <a:off x="4547687" y="3525269"/>
            <a:ext cx="4860500" cy="48673"/>
          </a:xfrm>
          <a:custGeom>
            <a:avLst/>
            <a:gdLst>
              <a:gd name="T0" fmla="*/ 20994 w 21600"/>
              <a:gd name="T1" fmla="*/ 4943 h 20357"/>
              <a:gd name="T2" fmla="*/ 20855 w 21600"/>
              <a:gd name="T3" fmla="*/ 3770 h 20357"/>
              <a:gd name="T4" fmla="*/ 20102 w 21600"/>
              <a:gd name="T5" fmla="*/ 4409 h 20357"/>
              <a:gd name="T6" fmla="*/ 19759 w 21600"/>
              <a:gd name="T7" fmla="*/ 4943 h 20357"/>
              <a:gd name="T8" fmla="*/ 19333 w 21600"/>
              <a:gd name="T9" fmla="*/ 4943 h 20357"/>
              <a:gd name="T10" fmla="*/ 17785 w 21600"/>
              <a:gd name="T11" fmla="*/ 4943 h 20357"/>
              <a:gd name="T12" fmla="*/ 17526 w 21600"/>
              <a:gd name="T13" fmla="*/ 4258 h 20357"/>
              <a:gd name="T14" fmla="*/ 17180 w 21600"/>
              <a:gd name="T15" fmla="*/ 4943 h 20357"/>
              <a:gd name="T16" fmla="*/ 16490 w 21600"/>
              <a:gd name="T17" fmla="*/ 4082 h 20357"/>
              <a:gd name="T18" fmla="*/ 15676 w 21600"/>
              <a:gd name="T19" fmla="*/ 4943 h 20357"/>
              <a:gd name="T20" fmla="*/ 14169 w 21600"/>
              <a:gd name="T21" fmla="*/ 4943 h 20357"/>
              <a:gd name="T22" fmla="*/ 13770 w 21600"/>
              <a:gd name="T23" fmla="*/ 0 h 20357"/>
              <a:gd name="T24" fmla="*/ 13453 w 21600"/>
              <a:gd name="T25" fmla="*/ 807 h 20357"/>
              <a:gd name="T26" fmla="*/ 12290 w 21600"/>
              <a:gd name="T27" fmla="*/ 2543 h 20357"/>
              <a:gd name="T28" fmla="*/ 12027 w 21600"/>
              <a:gd name="T29" fmla="*/ 2411 h 20357"/>
              <a:gd name="T30" fmla="*/ 11202 w 21600"/>
              <a:gd name="T31" fmla="*/ 1124 h 20357"/>
              <a:gd name="T32" fmla="*/ 9507 w 21600"/>
              <a:gd name="T33" fmla="*/ 3379 h 20357"/>
              <a:gd name="T34" fmla="*/ 8471 w 21600"/>
              <a:gd name="T35" fmla="*/ 2301 h 20357"/>
              <a:gd name="T36" fmla="*/ 7871 w 21600"/>
              <a:gd name="T37" fmla="*/ 644 h 20357"/>
              <a:gd name="T38" fmla="*/ 6985 w 21600"/>
              <a:gd name="T39" fmla="*/ 3343 h 20357"/>
              <a:gd name="T40" fmla="*/ 6397 w 21600"/>
              <a:gd name="T41" fmla="*/ 2990 h 20357"/>
              <a:gd name="T42" fmla="*/ 5666 w 21600"/>
              <a:gd name="T43" fmla="*/ 4943 h 20357"/>
              <a:gd name="T44" fmla="*/ 5013 w 21600"/>
              <a:gd name="T45" fmla="*/ 3458 h 20357"/>
              <a:gd name="T46" fmla="*/ 4682 w 21600"/>
              <a:gd name="T47" fmla="*/ 2265 h 20357"/>
              <a:gd name="T48" fmla="*/ 4023 w 21600"/>
              <a:gd name="T49" fmla="*/ 4943 h 20357"/>
              <a:gd name="T50" fmla="*/ 3526 w 21600"/>
              <a:gd name="T51" fmla="*/ 4943 h 20357"/>
              <a:gd name="T52" fmla="*/ 21 w 21600"/>
              <a:gd name="T53" fmla="*/ 8882 h 20357"/>
              <a:gd name="T54" fmla="*/ 1346 w 21600"/>
              <a:gd name="T55" fmla="*/ 15865 h 20357"/>
              <a:gd name="T56" fmla="*/ 2075 w 21600"/>
              <a:gd name="T57" fmla="*/ 18912 h 20357"/>
              <a:gd name="T58" fmla="*/ 2480 w 21600"/>
              <a:gd name="T59" fmla="*/ 18641 h 20357"/>
              <a:gd name="T60" fmla="*/ 2359 w 21600"/>
              <a:gd name="T61" fmla="*/ 16603 h 20357"/>
              <a:gd name="T62" fmla="*/ 3086 w 21600"/>
              <a:gd name="T63" fmla="*/ 15436 h 20357"/>
              <a:gd name="T64" fmla="*/ 3175 w 21600"/>
              <a:gd name="T65" fmla="*/ 12197 h 20357"/>
              <a:gd name="T66" fmla="*/ 3131 w 21600"/>
              <a:gd name="T67" fmla="*/ 15630 h 20357"/>
              <a:gd name="T68" fmla="*/ 3250 w 21600"/>
              <a:gd name="T69" fmla="*/ 18900 h 20357"/>
              <a:gd name="T70" fmla="*/ 4192 w 21600"/>
              <a:gd name="T71" fmla="*/ 15322 h 20357"/>
              <a:gd name="T72" fmla="*/ 4476 w 21600"/>
              <a:gd name="T73" fmla="*/ 15607 h 20357"/>
              <a:gd name="T74" fmla="*/ 5816 w 21600"/>
              <a:gd name="T75" fmla="*/ 18963 h 20357"/>
              <a:gd name="T76" fmla="*/ 6008 w 21600"/>
              <a:gd name="T77" fmla="*/ 18028 h 20357"/>
              <a:gd name="T78" fmla="*/ 6858 w 21600"/>
              <a:gd name="T79" fmla="*/ 15447 h 20357"/>
              <a:gd name="T80" fmla="*/ 8513 w 21600"/>
              <a:gd name="T81" fmla="*/ 15854 h 20357"/>
              <a:gd name="T82" fmla="*/ 8746 w 21600"/>
              <a:gd name="T83" fmla="*/ 17580 h 20357"/>
              <a:gd name="T84" fmla="*/ 9176 w 21600"/>
              <a:gd name="T85" fmla="*/ 18046 h 20357"/>
              <a:gd name="T86" fmla="*/ 9616 w 21600"/>
              <a:gd name="T87" fmla="*/ 19107 h 20357"/>
              <a:gd name="T88" fmla="*/ 10302 w 21600"/>
              <a:gd name="T89" fmla="*/ 15054 h 20357"/>
              <a:gd name="T90" fmla="*/ 10620 w 21600"/>
              <a:gd name="T91" fmla="*/ 18900 h 20357"/>
              <a:gd name="T92" fmla="*/ 11696 w 21600"/>
              <a:gd name="T93" fmla="*/ 17718 h 20357"/>
              <a:gd name="T94" fmla="*/ 12311 w 21600"/>
              <a:gd name="T95" fmla="*/ 14661 h 20357"/>
              <a:gd name="T96" fmla="*/ 13226 w 21600"/>
              <a:gd name="T97" fmla="*/ 17781 h 20357"/>
              <a:gd name="T98" fmla="*/ 14805 w 21600"/>
              <a:gd name="T99" fmla="*/ 19537 h 20357"/>
              <a:gd name="T100" fmla="*/ 16284 w 21600"/>
              <a:gd name="T101" fmla="*/ 20346 h 20357"/>
              <a:gd name="T102" fmla="*/ 17527 w 21600"/>
              <a:gd name="T103" fmla="*/ 18373 h 20357"/>
              <a:gd name="T104" fmla="*/ 18039 w 21600"/>
              <a:gd name="T105" fmla="*/ 18972 h 20357"/>
              <a:gd name="T106" fmla="*/ 19081 w 21600"/>
              <a:gd name="T107" fmla="*/ 16977 h 20357"/>
              <a:gd name="T108" fmla="*/ 20482 w 21600"/>
              <a:gd name="T109" fmla="*/ 15421 h 20357"/>
              <a:gd name="T110" fmla="*/ 21398 w 21600"/>
              <a:gd name="T111" fmla="*/ 16288 h 20357"/>
              <a:gd name="T112" fmla="*/ 21600 w 21600"/>
              <a:gd name="T113" fmla="*/ 4943 h 20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00" h="20357">
                <a:moveTo>
                  <a:pt x="21600" y="4943"/>
                </a:moveTo>
                <a:lnTo>
                  <a:pt x="21064" y="4943"/>
                </a:lnTo>
                <a:cubicBezTo>
                  <a:pt x="21057" y="4930"/>
                  <a:pt x="21050" y="4922"/>
                  <a:pt x="21042" y="4943"/>
                </a:cubicBezTo>
                <a:lnTo>
                  <a:pt x="20994" y="4943"/>
                </a:lnTo>
                <a:cubicBezTo>
                  <a:pt x="20962" y="4169"/>
                  <a:pt x="20997" y="3027"/>
                  <a:pt x="20955" y="2564"/>
                </a:cubicBezTo>
                <a:cubicBezTo>
                  <a:pt x="20829" y="4011"/>
                  <a:pt x="20818" y="1034"/>
                  <a:pt x="20685" y="2230"/>
                </a:cubicBezTo>
                <a:cubicBezTo>
                  <a:pt x="20723" y="3730"/>
                  <a:pt x="20730" y="3363"/>
                  <a:pt x="20636" y="4826"/>
                </a:cubicBezTo>
                <a:lnTo>
                  <a:pt x="20855" y="3770"/>
                </a:lnTo>
                <a:lnTo>
                  <a:pt x="20780" y="4943"/>
                </a:lnTo>
                <a:lnTo>
                  <a:pt x="20584" y="4943"/>
                </a:lnTo>
                <a:lnTo>
                  <a:pt x="20585" y="3435"/>
                </a:lnTo>
                <a:cubicBezTo>
                  <a:pt x="20428" y="1781"/>
                  <a:pt x="20306" y="5342"/>
                  <a:pt x="20102" y="4409"/>
                </a:cubicBezTo>
                <a:lnTo>
                  <a:pt x="20156" y="4943"/>
                </a:lnTo>
                <a:lnTo>
                  <a:pt x="19970" y="4943"/>
                </a:lnTo>
                <a:cubicBezTo>
                  <a:pt x="19958" y="4327"/>
                  <a:pt x="19932" y="3938"/>
                  <a:pt x="19912" y="3392"/>
                </a:cubicBezTo>
                <a:cubicBezTo>
                  <a:pt x="19915" y="4185"/>
                  <a:pt x="19803" y="3557"/>
                  <a:pt x="19759" y="4943"/>
                </a:cubicBezTo>
                <a:lnTo>
                  <a:pt x="19697" y="4943"/>
                </a:lnTo>
                <a:lnTo>
                  <a:pt x="19653" y="4153"/>
                </a:lnTo>
                <a:cubicBezTo>
                  <a:pt x="19592" y="3903"/>
                  <a:pt x="19550" y="4331"/>
                  <a:pt x="19514" y="4943"/>
                </a:cubicBezTo>
                <a:lnTo>
                  <a:pt x="19333" y="4943"/>
                </a:lnTo>
                <a:cubicBezTo>
                  <a:pt x="19341" y="4650"/>
                  <a:pt x="19357" y="4365"/>
                  <a:pt x="19389" y="4073"/>
                </a:cubicBezTo>
                <a:cubicBezTo>
                  <a:pt x="19336" y="4060"/>
                  <a:pt x="19288" y="3833"/>
                  <a:pt x="19287" y="4694"/>
                </a:cubicBezTo>
                <a:cubicBezTo>
                  <a:pt x="19274" y="4357"/>
                  <a:pt x="19245" y="4626"/>
                  <a:pt x="19212" y="4943"/>
                </a:cubicBezTo>
                <a:lnTo>
                  <a:pt x="17785" y="4943"/>
                </a:lnTo>
                <a:cubicBezTo>
                  <a:pt x="17757" y="4296"/>
                  <a:pt x="17710" y="4640"/>
                  <a:pt x="17659" y="4943"/>
                </a:cubicBezTo>
                <a:lnTo>
                  <a:pt x="17528" y="4943"/>
                </a:lnTo>
                <a:cubicBezTo>
                  <a:pt x="17518" y="4833"/>
                  <a:pt x="17509" y="4697"/>
                  <a:pt x="17499" y="4499"/>
                </a:cubicBezTo>
                <a:lnTo>
                  <a:pt x="17526" y="4258"/>
                </a:lnTo>
                <a:cubicBezTo>
                  <a:pt x="17472" y="3360"/>
                  <a:pt x="17401" y="4266"/>
                  <a:pt x="17321" y="4943"/>
                </a:cubicBezTo>
                <a:lnTo>
                  <a:pt x="17183" y="4943"/>
                </a:lnTo>
                <a:cubicBezTo>
                  <a:pt x="17183" y="4928"/>
                  <a:pt x="17183" y="4911"/>
                  <a:pt x="17183" y="4897"/>
                </a:cubicBezTo>
                <a:cubicBezTo>
                  <a:pt x="17182" y="4913"/>
                  <a:pt x="17181" y="4927"/>
                  <a:pt x="17180" y="4943"/>
                </a:cubicBezTo>
                <a:lnTo>
                  <a:pt x="16671" y="4943"/>
                </a:lnTo>
                <a:cubicBezTo>
                  <a:pt x="16630" y="3940"/>
                  <a:pt x="16579" y="4597"/>
                  <a:pt x="16533" y="4943"/>
                </a:cubicBezTo>
                <a:lnTo>
                  <a:pt x="16483" y="4943"/>
                </a:lnTo>
                <a:lnTo>
                  <a:pt x="16490" y="4082"/>
                </a:lnTo>
                <a:cubicBezTo>
                  <a:pt x="16432" y="4188"/>
                  <a:pt x="16394" y="4535"/>
                  <a:pt x="16361" y="4943"/>
                </a:cubicBezTo>
                <a:lnTo>
                  <a:pt x="15826" y="4943"/>
                </a:lnTo>
                <a:cubicBezTo>
                  <a:pt x="15844" y="4759"/>
                  <a:pt x="15860" y="4575"/>
                  <a:pt x="15875" y="4387"/>
                </a:cubicBezTo>
                <a:cubicBezTo>
                  <a:pt x="15829" y="4374"/>
                  <a:pt x="15738" y="4470"/>
                  <a:pt x="15676" y="4943"/>
                </a:cubicBezTo>
                <a:lnTo>
                  <a:pt x="15061" y="4943"/>
                </a:lnTo>
                <a:cubicBezTo>
                  <a:pt x="15012" y="4684"/>
                  <a:pt x="14969" y="4210"/>
                  <a:pt x="14945" y="3246"/>
                </a:cubicBezTo>
                <a:cubicBezTo>
                  <a:pt x="14712" y="5027"/>
                  <a:pt x="14483" y="2488"/>
                  <a:pt x="14212" y="2774"/>
                </a:cubicBezTo>
                <a:cubicBezTo>
                  <a:pt x="14281" y="5487"/>
                  <a:pt x="14208" y="4323"/>
                  <a:pt x="14169" y="4943"/>
                </a:cubicBezTo>
                <a:lnTo>
                  <a:pt x="13913" y="4943"/>
                </a:lnTo>
                <a:lnTo>
                  <a:pt x="13865" y="4361"/>
                </a:lnTo>
                <a:cubicBezTo>
                  <a:pt x="13819" y="3242"/>
                  <a:pt x="13925" y="3513"/>
                  <a:pt x="13919" y="2651"/>
                </a:cubicBezTo>
                <a:cubicBezTo>
                  <a:pt x="13781" y="2356"/>
                  <a:pt x="13861" y="1021"/>
                  <a:pt x="13770" y="0"/>
                </a:cubicBezTo>
                <a:cubicBezTo>
                  <a:pt x="13788" y="1375"/>
                  <a:pt x="13721" y="1969"/>
                  <a:pt x="13643" y="1444"/>
                </a:cubicBezTo>
                <a:lnTo>
                  <a:pt x="13754" y="3218"/>
                </a:lnTo>
                <a:cubicBezTo>
                  <a:pt x="13560" y="5264"/>
                  <a:pt x="13587" y="-10"/>
                  <a:pt x="13392" y="2017"/>
                </a:cubicBezTo>
                <a:lnTo>
                  <a:pt x="13453" y="807"/>
                </a:lnTo>
                <a:cubicBezTo>
                  <a:pt x="13353" y="1521"/>
                  <a:pt x="13084" y="783"/>
                  <a:pt x="12986" y="3872"/>
                </a:cubicBezTo>
                <a:cubicBezTo>
                  <a:pt x="12969" y="3428"/>
                  <a:pt x="12945" y="2376"/>
                  <a:pt x="12989" y="2098"/>
                </a:cubicBezTo>
                <a:cubicBezTo>
                  <a:pt x="12750" y="1635"/>
                  <a:pt x="12458" y="5385"/>
                  <a:pt x="12272" y="3483"/>
                </a:cubicBezTo>
                <a:lnTo>
                  <a:pt x="12290" y="2543"/>
                </a:lnTo>
                <a:cubicBezTo>
                  <a:pt x="12245" y="2815"/>
                  <a:pt x="12212" y="4309"/>
                  <a:pt x="12157" y="3363"/>
                </a:cubicBezTo>
                <a:cubicBezTo>
                  <a:pt x="12159" y="2975"/>
                  <a:pt x="12175" y="2425"/>
                  <a:pt x="12154" y="2370"/>
                </a:cubicBezTo>
                <a:cubicBezTo>
                  <a:pt x="12130" y="2694"/>
                  <a:pt x="12035" y="4017"/>
                  <a:pt x="11976" y="3469"/>
                </a:cubicBezTo>
                <a:lnTo>
                  <a:pt x="12027" y="2411"/>
                </a:lnTo>
                <a:cubicBezTo>
                  <a:pt x="11840" y="1423"/>
                  <a:pt x="11722" y="3680"/>
                  <a:pt x="11582" y="4943"/>
                </a:cubicBezTo>
                <a:lnTo>
                  <a:pt x="11469" y="4943"/>
                </a:lnTo>
                <a:cubicBezTo>
                  <a:pt x="11442" y="2713"/>
                  <a:pt x="11283" y="1925"/>
                  <a:pt x="11199" y="1516"/>
                </a:cubicBezTo>
                <a:lnTo>
                  <a:pt x="11202" y="1124"/>
                </a:lnTo>
                <a:cubicBezTo>
                  <a:pt x="10931" y="783"/>
                  <a:pt x="10741" y="3419"/>
                  <a:pt x="10490" y="4505"/>
                </a:cubicBezTo>
                <a:cubicBezTo>
                  <a:pt x="10334" y="1501"/>
                  <a:pt x="9962" y="3246"/>
                  <a:pt x="9711" y="1562"/>
                </a:cubicBezTo>
                <a:cubicBezTo>
                  <a:pt x="9749" y="2064"/>
                  <a:pt x="9705" y="3719"/>
                  <a:pt x="9660" y="3997"/>
                </a:cubicBezTo>
                <a:cubicBezTo>
                  <a:pt x="9601" y="3435"/>
                  <a:pt x="9497" y="5918"/>
                  <a:pt x="9507" y="3379"/>
                </a:cubicBezTo>
                <a:lnTo>
                  <a:pt x="9528" y="3428"/>
                </a:lnTo>
                <a:cubicBezTo>
                  <a:pt x="9483" y="937"/>
                  <a:pt x="9363" y="1599"/>
                  <a:pt x="9268" y="1531"/>
                </a:cubicBezTo>
                <a:lnTo>
                  <a:pt x="9253" y="4853"/>
                </a:lnTo>
                <a:cubicBezTo>
                  <a:pt x="9006" y="22"/>
                  <a:pt x="8605" y="6627"/>
                  <a:pt x="8471" y="2301"/>
                </a:cubicBezTo>
                <a:cubicBezTo>
                  <a:pt x="8411" y="3131"/>
                  <a:pt x="8337" y="3122"/>
                  <a:pt x="8278" y="3951"/>
                </a:cubicBezTo>
                <a:lnTo>
                  <a:pt x="8281" y="2170"/>
                </a:lnTo>
                <a:cubicBezTo>
                  <a:pt x="8116" y="1716"/>
                  <a:pt x="8034" y="1492"/>
                  <a:pt x="7830" y="1917"/>
                </a:cubicBezTo>
                <a:lnTo>
                  <a:pt x="7871" y="644"/>
                </a:lnTo>
                <a:cubicBezTo>
                  <a:pt x="7786" y="560"/>
                  <a:pt x="7747" y="3413"/>
                  <a:pt x="7690" y="4943"/>
                </a:cubicBezTo>
                <a:lnTo>
                  <a:pt x="7608" y="4943"/>
                </a:lnTo>
                <a:lnTo>
                  <a:pt x="7588" y="3225"/>
                </a:lnTo>
                <a:cubicBezTo>
                  <a:pt x="7387" y="3267"/>
                  <a:pt x="7184" y="933"/>
                  <a:pt x="6985" y="3343"/>
                </a:cubicBezTo>
                <a:cubicBezTo>
                  <a:pt x="6988" y="2955"/>
                  <a:pt x="6994" y="2185"/>
                  <a:pt x="7027" y="2078"/>
                </a:cubicBezTo>
                <a:cubicBezTo>
                  <a:pt x="6935" y="2011"/>
                  <a:pt x="6679" y="390"/>
                  <a:pt x="6693" y="3587"/>
                </a:cubicBezTo>
                <a:cubicBezTo>
                  <a:pt x="6671" y="1786"/>
                  <a:pt x="6482" y="3751"/>
                  <a:pt x="6380" y="4742"/>
                </a:cubicBezTo>
                <a:lnTo>
                  <a:pt x="6397" y="2990"/>
                </a:lnTo>
                <a:cubicBezTo>
                  <a:pt x="6361" y="3851"/>
                  <a:pt x="6339" y="4470"/>
                  <a:pt x="6318" y="4943"/>
                </a:cubicBezTo>
                <a:lnTo>
                  <a:pt x="5669" y="4943"/>
                </a:lnTo>
                <a:cubicBezTo>
                  <a:pt x="5668" y="4914"/>
                  <a:pt x="5668" y="4886"/>
                  <a:pt x="5667" y="4857"/>
                </a:cubicBezTo>
                <a:cubicBezTo>
                  <a:pt x="5667" y="4885"/>
                  <a:pt x="5666" y="4915"/>
                  <a:pt x="5666" y="4943"/>
                </a:cubicBezTo>
                <a:lnTo>
                  <a:pt x="5401" y="4943"/>
                </a:lnTo>
                <a:cubicBezTo>
                  <a:pt x="5396" y="3417"/>
                  <a:pt x="5292" y="3095"/>
                  <a:pt x="5378" y="913"/>
                </a:cubicBezTo>
                <a:cubicBezTo>
                  <a:pt x="5289" y="2130"/>
                  <a:pt x="5136" y="4777"/>
                  <a:pt x="5027" y="4017"/>
                </a:cubicBezTo>
                <a:cubicBezTo>
                  <a:pt x="5022" y="3861"/>
                  <a:pt x="5017" y="3707"/>
                  <a:pt x="5013" y="3458"/>
                </a:cubicBezTo>
                <a:lnTo>
                  <a:pt x="5024" y="3277"/>
                </a:lnTo>
                <a:cubicBezTo>
                  <a:pt x="4999" y="3116"/>
                  <a:pt x="4977" y="3267"/>
                  <a:pt x="4956" y="3538"/>
                </a:cubicBezTo>
                <a:cubicBezTo>
                  <a:pt x="4921" y="3273"/>
                  <a:pt x="4899" y="3076"/>
                  <a:pt x="4866" y="3052"/>
                </a:cubicBezTo>
                <a:cubicBezTo>
                  <a:pt x="4853" y="1716"/>
                  <a:pt x="4738" y="2331"/>
                  <a:pt x="4682" y="2265"/>
                </a:cubicBezTo>
                <a:cubicBezTo>
                  <a:pt x="4686" y="3918"/>
                  <a:pt x="4623" y="3779"/>
                  <a:pt x="4671" y="4943"/>
                </a:cubicBezTo>
                <a:lnTo>
                  <a:pt x="4496" y="4943"/>
                </a:lnTo>
                <a:cubicBezTo>
                  <a:pt x="4457" y="4256"/>
                  <a:pt x="4425" y="3637"/>
                  <a:pt x="4416" y="2985"/>
                </a:cubicBezTo>
                <a:cubicBezTo>
                  <a:pt x="4293" y="3702"/>
                  <a:pt x="4139" y="3731"/>
                  <a:pt x="4023" y="4943"/>
                </a:cubicBezTo>
                <a:lnTo>
                  <a:pt x="3901" y="4943"/>
                </a:lnTo>
                <a:cubicBezTo>
                  <a:pt x="3905" y="4884"/>
                  <a:pt x="3909" y="4817"/>
                  <a:pt x="3912" y="4727"/>
                </a:cubicBezTo>
                <a:cubicBezTo>
                  <a:pt x="3902" y="4812"/>
                  <a:pt x="3891" y="4881"/>
                  <a:pt x="3880" y="4943"/>
                </a:cubicBezTo>
                <a:lnTo>
                  <a:pt x="3526" y="4943"/>
                </a:lnTo>
                <a:lnTo>
                  <a:pt x="3527" y="4912"/>
                </a:lnTo>
                <a:cubicBezTo>
                  <a:pt x="3402" y="3504"/>
                  <a:pt x="3295" y="4022"/>
                  <a:pt x="3190" y="4943"/>
                </a:cubicBezTo>
                <a:lnTo>
                  <a:pt x="0" y="4943"/>
                </a:lnTo>
                <a:lnTo>
                  <a:pt x="21" y="8882"/>
                </a:lnTo>
                <a:lnTo>
                  <a:pt x="29" y="8882"/>
                </a:lnTo>
                <a:lnTo>
                  <a:pt x="29" y="14010"/>
                </a:lnTo>
                <a:cubicBezTo>
                  <a:pt x="32" y="14222"/>
                  <a:pt x="69" y="13664"/>
                  <a:pt x="68" y="14013"/>
                </a:cubicBezTo>
                <a:cubicBezTo>
                  <a:pt x="88" y="13349"/>
                  <a:pt x="1288" y="15980"/>
                  <a:pt x="1346" y="15865"/>
                </a:cubicBezTo>
                <a:cubicBezTo>
                  <a:pt x="1239" y="19183"/>
                  <a:pt x="1563" y="16060"/>
                  <a:pt x="1535" y="19618"/>
                </a:cubicBezTo>
                <a:cubicBezTo>
                  <a:pt x="1614" y="16634"/>
                  <a:pt x="1819" y="18292"/>
                  <a:pt x="1959" y="16637"/>
                </a:cubicBezTo>
                <a:cubicBezTo>
                  <a:pt x="1951" y="16874"/>
                  <a:pt x="1936" y="17354"/>
                  <a:pt x="1923" y="17202"/>
                </a:cubicBezTo>
                <a:cubicBezTo>
                  <a:pt x="2002" y="17450"/>
                  <a:pt x="2025" y="18349"/>
                  <a:pt x="2075" y="18912"/>
                </a:cubicBezTo>
                <a:cubicBezTo>
                  <a:pt x="2085" y="16449"/>
                  <a:pt x="2207" y="15885"/>
                  <a:pt x="2273" y="14365"/>
                </a:cubicBezTo>
                <a:cubicBezTo>
                  <a:pt x="2369" y="16743"/>
                  <a:pt x="2215" y="17257"/>
                  <a:pt x="2245" y="19542"/>
                </a:cubicBezTo>
                <a:cubicBezTo>
                  <a:pt x="2240" y="17545"/>
                  <a:pt x="2412" y="17549"/>
                  <a:pt x="2379" y="15885"/>
                </a:cubicBezTo>
                <a:cubicBezTo>
                  <a:pt x="2453" y="17356"/>
                  <a:pt x="2442" y="16599"/>
                  <a:pt x="2480" y="18641"/>
                </a:cubicBezTo>
                <a:cubicBezTo>
                  <a:pt x="2493" y="15559"/>
                  <a:pt x="2549" y="18120"/>
                  <a:pt x="2610" y="16227"/>
                </a:cubicBezTo>
                <a:cubicBezTo>
                  <a:pt x="2716" y="17746"/>
                  <a:pt x="2209" y="19114"/>
                  <a:pt x="2326" y="18175"/>
                </a:cubicBezTo>
                <a:cubicBezTo>
                  <a:pt x="2382" y="19120"/>
                  <a:pt x="2278" y="20212"/>
                  <a:pt x="2278" y="20212"/>
                </a:cubicBezTo>
                <a:cubicBezTo>
                  <a:pt x="2397" y="20262"/>
                  <a:pt x="2334" y="17938"/>
                  <a:pt x="2359" y="16603"/>
                </a:cubicBezTo>
                <a:cubicBezTo>
                  <a:pt x="2501" y="15945"/>
                  <a:pt x="2425" y="18315"/>
                  <a:pt x="2473" y="19502"/>
                </a:cubicBezTo>
                <a:cubicBezTo>
                  <a:pt x="2562" y="18888"/>
                  <a:pt x="2630" y="16755"/>
                  <a:pt x="2696" y="16846"/>
                </a:cubicBezTo>
                <a:cubicBezTo>
                  <a:pt x="2701" y="17228"/>
                  <a:pt x="2713" y="17368"/>
                  <a:pt x="2698" y="17847"/>
                </a:cubicBezTo>
                <a:cubicBezTo>
                  <a:pt x="2792" y="16000"/>
                  <a:pt x="2977" y="17757"/>
                  <a:pt x="3086" y="15436"/>
                </a:cubicBezTo>
                <a:cubicBezTo>
                  <a:pt x="3094" y="15642"/>
                  <a:pt x="3098" y="15837"/>
                  <a:pt x="3100" y="16012"/>
                </a:cubicBezTo>
                <a:cubicBezTo>
                  <a:pt x="3082" y="14849"/>
                  <a:pt x="3080" y="13666"/>
                  <a:pt x="3083" y="12825"/>
                </a:cubicBezTo>
                <a:cubicBezTo>
                  <a:pt x="3116" y="12801"/>
                  <a:pt x="3145" y="12279"/>
                  <a:pt x="3167" y="12197"/>
                </a:cubicBezTo>
                <a:lnTo>
                  <a:pt x="3175" y="12197"/>
                </a:lnTo>
                <a:cubicBezTo>
                  <a:pt x="3186" y="12212"/>
                  <a:pt x="3196" y="12376"/>
                  <a:pt x="3202" y="12876"/>
                </a:cubicBezTo>
                <a:cubicBezTo>
                  <a:pt x="3170" y="12832"/>
                  <a:pt x="3167" y="13444"/>
                  <a:pt x="3152" y="13918"/>
                </a:cubicBezTo>
                <a:lnTo>
                  <a:pt x="3208" y="13258"/>
                </a:lnTo>
                <a:cubicBezTo>
                  <a:pt x="3258" y="15441"/>
                  <a:pt x="3131" y="14014"/>
                  <a:pt x="3131" y="15630"/>
                </a:cubicBezTo>
                <a:cubicBezTo>
                  <a:pt x="3240" y="14919"/>
                  <a:pt x="3367" y="13113"/>
                  <a:pt x="3451" y="13729"/>
                </a:cubicBezTo>
                <a:cubicBezTo>
                  <a:pt x="3468" y="15865"/>
                  <a:pt x="3255" y="14448"/>
                  <a:pt x="3367" y="16347"/>
                </a:cubicBezTo>
                <a:lnTo>
                  <a:pt x="3238" y="15532"/>
                </a:lnTo>
                <a:cubicBezTo>
                  <a:pt x="3336" y="18900"/>
                  <a:pt x="3159" y="15295"/>
                  <a:pt x="3250" y="18900"/>
                </a:cubicBezTo>
                <a:cubicBezTo>
                  <a:pt x="3420" y="19519"/>
                  <a:pt x="3440" y="17812"/>
                  <a:pt x="3610" y="18435"/>
                </a:cubicBezTo>
                <a:cubicBezTo>
                  <a:pt x="3648" y="17248"/>
                  <a:pt x="3597" y="16679"/>
                  <a:pt x="3635" y="15492"/>
                </a:cubicBezTo>
                <a:cubicBezTo>
                  <a:pt x="3876" y="13360"/>
                  <a:pt x="3825" y="20863"/>
                  <a:pt x="4002" y="18017"/>
                </a:cubicBezTo>
                <a:cubicBezTo>
                  <a:pt x="4048" y="16594"/>
                  <a:pt x="4066" y="13892"/>
                  <a:pt x="4192" y="15322"/>
                </a:cubicBezTo>
                <a:lnTo>
                  <a:pt x="4149" y="17736"/>
                </a:lnTo>
                <a:cubicBezTo>
                  <a:pt x="4314" y="17974"/>
                  <a:pt x="4243" y="14265"/>
                  <a:pt x="4416" y="15890"/>
                </a:cubicBezTo>
                <a:cubicBezTo>
                  <a:pt x="4385" y="16838"/>
                  <a:pt x="4286" y="16689"/>
                  <a:pt x="4311" y="16977"/>
                </a:cubicBezTo>
                <a:cubicBezTo>
                  <a:pt x="4423" y="18884"/>
                  <a:pt x="4390" y="15607"/>
                  <a:pt x="4476" y="15607"/>
                </a:cubicBezTo>
                <a:lnTo>
                  <a:pt x="4494" y="17746"/>
                </a:lnTo>
                <a:cubicBezTo>
                  <a:pt x="4669" y="17409"/>
                  <a:pt x="4862" y="15865"/>
                  <a:pt x="5056" y="15475"/>
                </a:cubicBezTo>
                <a:cubicBezTo>
                  <a:pt x="5045" y="16111"/>
                  <a:pt x="5012" y="16780"/>
                  <a:pt x="5058" y="17434"/>
                </a:cubicBezTo>
                <a:cubicBezTo>
                  <a:pt x="5302" y="16366"/>
                  <a:pt x="5580" y="17695"/>
                  <a:pt x="5816" y="18963"/>
                </a:cubicBezTo>
                <a:lnTo>
                  <a:pt x="5907" y="17118"/>
                </a:lnTo>
                <a:cubicBezTo>
                  <a:pt x="5928" y="17139"/>
                  <a:pt x="5946" y="17951"/>
                  <a:pt x="5923" y="18310"/>
                </a:cubicBezTo>
                <a:cubicBezTo>
                  <a:pt x="6015" y="19009"/>
                  <a:pt x="5928" y="17139"/>
                  <a:pt x="5972" y="16413"/>
                </a:cubicBezTo>
                <a:cubicBezTo>
                  <a:pt x="6024" y="16284"/>
                  <a:pt x="6041" y="17474"/>
                  <a:pt x="6008" y="18028"/>
                </a:cubicBezTo>
                <a:cubicBezTo>
                  <a:pt x="6170" y="16464"/>
                  <a:pt x="6470" y="14657"/>
                  <a:pt x="6642" y="16634"/>
                </a:cubicBezTo>
                <a:lnTo>
                  <a:pt x="6608" y="17182"/>
                </a:lnTo>
                <a:cubicBezTo>
                  <a:pt x="6741" y="17931"/>
                  <a:pt x="6759" y="13399"/>
                  <a:pt x="6882" y="15120"/>
                </a:cubicBezTo>
                <a:lnTo>
                  <a:pt x="6858" y="15447"/>
                </a:lnTo>
                <a:cubicBezTo>
                  <a:pt x="7148" y="16247"/>
                  <a:pt x="7467" y="14557"/>
                  <a:pt x="7688" y="17343"/>
                </a:cubicBezTo>
                <a:cubicBezTo>
                  <a:pt x="7730" y="14685"/>
                  <a:pt x="7974" y="18529"/>
                  <a:pt x="7993" y="14821"/>
                </a:cubicBezTo>
                <a:cubicBezTo>
                  <a:pt x="8158" y="16659"/>
                  <a:pt x="8111" y="17320"/>
                  <a:pt x="8343" y="18556"/>
                </a:cubicBezTo>
                <a:cubicBezTo>
                  <a:pt x="8405" y="18727"/>
                  <a:pt x="8436" y="16241"/>
                  <a:pt x="8513" y="15854"/>
                </a:cubicBezTo>
                <a:lnTo>
                  <a:pt x="8514" y="17793"/>
                </a:lnTo>
                <a:lnTo>
                  <a:pt x="8619" y="15759"/>
                </a:lnTo>
                <a:lnTo>
                  <a:pt x="8674" y="18077"/>
                </a:lnTo>
                <a:lnTo>
                  <a:pt x="8746" y="17580"/>
                </a:lnTo>
                <a:cubicBezTo>
                  <a:pt x="8717" y="17466"/>
                  <a:pt x="8685" y="16710"/>
                  <a:pt x="8690" y="16151"/>
                </a:cubicBezTo>
                <a:cubicBezTo>
                  <a:pt x="8802" y="15274"/>
                  <a:pt x="8964" y="17502"/>
                  <a:pt x="8967" y="18495"/>
                </a:cubicBezTo>
                <a:lnTo>
                  <a:pt x="9233" y="16855"/>
                </a:lnTo>
                <a:cubicBezTo>
                  <a:pt x="9228" y="17433"/>
                  <a:pt x="9203" y="17729"/>
                  <a:pt x="9176" y="18046"/>
                </a:cubicBezTo>
                <a:cubicBezTo>
                  <a:pt x="9272" y="17015"/>
                  <a:pt x="9183" y="20301"/>
                  <a:pt x="9303" y="18629"/>
                </a:cubicBezTo>
                <a:cubicBezTo>
                  <a:pt x="9286" y="18189"/>
                  <a:pt x="9312" y="17474"/>
                  <a:pt x="9315" y="17082"/>
                </a:cubicBezTo>
                <a:cubicBezTo>
                  <a:pt x="9380" y="18254"/>
                  <a:pt x="9528" y="18265"/>
                  <a:pt x="9637" y="17772"/>
                </a:cubicBezTo>
                <a:lnTo>
                  <a:pt x="9616" y="19107"/>
                </a:lnTo>
                <a:cubicBezTo>
                  <a:pt x="9814" y="19447"/>
                  <a:pt x="10033" y="18466"/>
                  <a:pt x="10254" y="18490"/>
                </a:cubicBezTo>
                <a:cubicBezTo>
                  <a:pt x="10175" y="17867"/>
                  <a:pt x="10193" y="15552"/>
                  <a:pt x="10258" y="15329"/>
                </a:cubicBezTo>
                <a:lnTo>
                  <a:pt x="10284" y="17379"/>
                </a:lnTo>
                <a:cubicBezTo>
                  <a:pt x="10326" y="16111"/>
                  <a:pt x="10216" y="16603"/>
                  <a:pt x="10302" y="15054"/>
                </a:cubicBezTo>
                <a:cubicBezTo>
                  <a:pt x="10385" y="15291"/>
                  <a:pt x="10358" y="17384"/>
                  <a:pt x="10310" y="18050"/>
                </a:cubicBezTo>
                <a:lnTo>
                  <a:pt x="10411" y="17339"/>
                </a:lnTo>
                <a:cubicBezTo>
                  <a:pt x="10417" y="17951"/>
                  <a:pt x="10393" y="18274"/>
                  <a:pt x="10387" y="19054"/>
                </a:cubicBezTo>
                <a:cubicBezTo>
                  <a:pt x="10428" y="17781"/>
                  <a:pt x="10561" y="21109"/>
                  <a:pt x="10620" y="18900"/>
                </a:cubicBezTo>
                <a:lnTo>
                  <a:pt x="10626" y="19510"/>
                </a:lnTo>
                <a:cubicBezTo>
                  <a:pt x="10848" y="19527"/>
                  <a:pt x="10948" y="18822"/>
                  <a:pt x="11128" y="18719"/>
                </a:cubicBezTo>
                <a:cubicBezTo>
                  <a:pt x="11132" y="16950"/>
                  <a:pt x="11202" y="17343"/>
                  <a:pt x="11256" y="15914"/>
                </a:cubicBezTo>
                <a:cubicBezTo>
                  <a:pt x="11389" y="16478"/>
                  <a:pt x="11536" y="17867"/>
                  <a:pt x="11696" y="17718"/>
                </a:cubicBezTo>
                <a:cubicBezTo>
                  <a:pt x="11808" y="16838"/>
                  <a:pt x="11729" y="16221"/>
                  <a:pt x="11779" y="15170"/>
                </a:cubicBezTo>
                <a:cubicBezTo>
                  <a:pt x="11787" y="16780"/>
                  <a:pt x="11947" y="16630"/>
                  <a:pt x="11864" y="17786"/>
                </a:cubicBezTo>
                <a:cubicBezTo>
                  <a:pt x="12056" y="17525"/>
                  <a:pt x="12109" y="17466"/>
                  <a:pt x="12352" y="16158"/>
                </a:cubicBezTo>
                <a:cubicBezTo>
                  <a:pt x="12325" y="15497"/>
                  <a:pt x="12296" y="15211"/>
                  <a:pt x="12311" y="14661"/>
                </a:cubicBezTo>
                <a:cubicBezTo>
                  <a:pt x="12355" y="14396"/>
                  <a:pt x="12411" y="15337"/>
                  <a:pt x="12405" y="16111"/>
                </a:cubicBezTo>
                <a:lnTo>
                  <a:pt x="12393" y="16276"/>
                </a:lnTo>
                <a:cubicBezTo>
                  <a:pt x="12665" y="13863"/>
                  <a:pt x="13021" y="20973"/>
                  <a:pt x="13238" y="17615"/>
                </a:cubicBezTo>
                <a:lnTo>
                  <a:pt x="13226" y="17781"/>
                </a:lnTo>
                <a:lnTo>
                  <a:pt x="13451" y="16031"/>
                </a:lnTo>
                <a:cubicBezTo>
                  <a:pt x="13554" y="16310"/>
                  <a:pt x="13389" y="17242"/>
                  <a:pt x="13465" y="18238"/>
                </a:cubicBezTo>
                <a:cubicBezTo>
                  <a:pt x="13708" y="15552"/>
                  <a:pt x="13848" y="18629"/>
                  <a:pt x="14048" y="16838"/>
                </a:cubicBezTo>
                <a:cubicBezTo>
                  <a:pt x="14203" y="21590"/>
                  <a:pt x="14597" y="16504"/>
                  <a:pt x="14805" y="19537"/>
                </a:cubicBezTo>
                <a:lnTo>
                  <a:pt x="14793" y="18418"/>
                </a:lnTo>
                <a:cubicBezTo>
                  <a:pt x="14847" y="17320"/>
                  <a:pt x="14858" y="19058"/>
                  <a:pt x="14898" y="19315"/>
                </a:cubicBezTo>
                <a:cubicBezTo>
                  <a:pt x="14892" y="18446"/>
                  <a:pt x="14840" y="18310"/>
                  <a:pt x="14873" y="17701"/>
                </a:cubicBezTo>
                <a:cubicBezTo>
                  <a:pt x="15330" y="16353"/>
                  <a:pt x="15816" y="19336"/>
                  <a:pt x="16284" y="20346"/>
                </a:cubicBezTo>
                <a:cubicBezTo>
                  <a:pt x="16455" y="20646"/>
                  <a:pt x="16381" y="14557"/>
                  <a:pt x="16597" y="17228"/>
                </a:cubicBezTo>
                <a:lnTo>
                  <a:pt x="16536" y="19305"/>
                </a:lnTo>
                <a:cubicBezTo>
                  <a:pt x="16882" y="16815"/>
                  <a:pt x="17243" y="19391"/>
                  <a:pt x="17581" y="17277"/>
                </a:cubicBezTo>
                <a:cubicBezTo>
                  <a:pt x="17561" y="17757"/>
                  <a:pt x="17560" y="18380"/>
                  <a:pt x="17527" y="18373"/>
                </a:cubicBezTo>
                <a:cubicBezTo>
                  <a:pt x="17599" y="19882"/>
                  <a:pt x="17792" y="18446"/>
                  <a:pt x="17793" y="17213"/>
                </a:cubicBezTo>
                <a:cubicBezTo>
                  <a:pt x="17846" y="17354"/>
                  <a:pt x="17805" y="18328"/>
                  <a:pt x="17837" y="18954"/>
                </a:cubicBezTo>
                <a:cubicBezTo>
                  <a:pt x="17909" y="19844"/>
                  <a:pt x="18017" y="17027"/>
                  <a:pt x="18056" y="18529"/>
                </a:cubicBezTo>
                <a:cubicBezTo>
                  <a:pt x="18060" y="18688"/>
                  <a:pt x="18050" y="18848"/>
                  <a:pt x="18039" y="18972"/>
                </a:cubicBezTo>
                <a:cubicBezTo>
                  <a:pt x="18100" y="18558"/>
                  <a:pt x="18236" y="19156"/>
                  <a:pt x="18195" y="17580"/>
                </a:cubicBezTo>
                <a:cubicBezTo>
                  <a:pt x="18322" y="18410"/>
                  <a:pt x="18438" y="16805"/>
                  <a:pt x="18539" y="17837"/>
                </a:cubicBezTo>
                <a:cubicBezTo>
                  <a:pt x="18605" y="15890"/>
                  <a:pt x="18757" y="18774"/>
                  <a:pt x="18778" y="16020"/>
                </a:cubicBezTo>
                <a:cubicBezTo>
                  <a:pt x="18769" y="18865"/>
                  <a:pt x="19000" y="18315"/>
                  <a:pt x="19081" y="16977"/>
                </a:cubicBezTo>
                <a:cubicBezTo>
                  <a:pt x="19054" y="17837"/>
                  <a:pt x="19151" y="17867"/>
                  <a:pt x="19119" y="19058"/>
                </a:cubicBezTo>
                <a:cubicBezTo>
                  <a:pt x="19211" y="19019"/>
                  <a:pt x="19295" y="18490"/>
                  <a:pt x="19279" y="17029"/>
                </a:cubicBezTo>
                <a:cubicBezTo>
                  <a:pt x="19448" y="20432"/>
                  <a:pt x="19618" y="14290"/>
                  <a:pt x="19713" y="18651"/>
                </a:cubicBezTo>
                <a:cubicBezTo>
                  <a:pt x="19985" y="17123"/>
                  <a:pt x="20237" y="16089"/>
                  <a:pt x="20482" y="15421"/>
                </a:cubicBezTo>
                <a:cubicBezTo>
                  <a:pt x="20473" y="18258"/>
                  <a:pt x="20211" y="15704"/>
                  <a:pt x="20222" y="18682"/>
                </a:cubicBezTo>
                <a:cubicBezTo>
                  <a:pt x="20454" y="17514"/>
                  <a:pt x="20588" y="15079"/>
                  <a:pt x="20819" y="15764"/>
                </a:cubicBezTo>
                <a:cubicBezTo>
                  <a:pt x="20878" y="16151"/>
                  <a:pt x="20785" y="16993"/>
                  <a:pt x="20765" y="17479"/>
                </a:cubicBezTo>
                <a:cubicBezTo>
                  <a:pt x="20989" y="16351"/>
                  <a:pt x="21198" y="17586"/>
                  <a:pt x="21398" y="16288"/>
                </a:cubicBezTo>
                <a:lnTo>
                  <a:pt x="21472" y="12197"/>
                </a:lnTo>
                <a:lnTo>
                  <a:pt x="21600" y="8787"/>
                </a:lnTo>
                <a:cubicBezTo>
                  <a:pt x="21600" y="8787"/>
                  <a:pt x="21600" y="4943"/>
                  <a:pt x="21600" y="4943"/>
                </a:cubicBezTo>
                <a:close/>
                <a:moveTo>
                  <a:pt x="21600" y="4943"/>
                </a:moveTo>
              </a:path>
            </a:pathLst>
          </a:custGeom>
          <a:solidFill>
            <a:srgbClr val="4D4D4D">
              <a:alpha val="21000"/>
            </a:srgbClr>
          </a:solidFill>
          <a:ln>
            <a:noFill/>
          </a:ln>
          <a:extLst>
            <a:ext uri="{91240B29-F687-4f45-9708-019B960494DF}">
              <a14:hiddenLine xmlns:lc="http://schemas.openxmlformats.org/drawingml/2006/lockedCanvas"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87A34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885A352-0285-4FBE-BBB7-BC8A66736CD8}"/>
              </a:ext>
            </a:extLst>
          </p:cNvPr>
          <p:cNvSpPr txBox="1"/>
          <p:nvPr/>
        </p:nvSpPr>
        <p:spPr>
          <a:xfrm>
            <a:off x="2316707" y="722101"/>
            <a:ext cx="1956375" cy="347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n (CNY)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815EA70-D328-4F8D-9956-82BF20F2D564}"/>
              </a:ext>
            </a:extLst>
          </p:cNvPr>
          <p:cNvSpPr txBox="1"/>
          <p:nvPr/>
        </p:nvSpPr>
        <p:spPr>
          <a:xfrm>
            <a:off x="4722001" y="716192"/>
            <a:ext cx="1956375" cy="347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b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BBE9AFF-5FEC-411F-9994-83061B6774E6}"/>
              </a:ext>
            </a:extLst>
          </p:cNvPr>
          <p:cNvSpPr txBox="1"/>
          <p:nvPr/>
        </p:nvSpPr>
        <p:spPr>
          <a:xfrm>
            <a:off x="7127294" y="698268"/>
            <a:ext cx="1956375" cy="347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ch</a:t>
            </a:r>
          </a:p>
        </p:txBody>
      </p:sp>
      <p:sp>
        <p:nvSpPr>
          <p:cNvPr id="97" name="AutoShape 128">
            <a:extLst>
              <a:ext uri="{FF2B5EF4-FFF2-40B4-BE49-F238E27FC236}">
                <a16:creationId xmlns:a16="http://schemas.microsoft.com/office/drawing/2014/main" id="{EDFBDC8D-958F-4918-B0D5-6250557DAD67}"/>
              </a:ext>
            </a:extLst>
          </p:cNvPr>
          <p:cNvSpPr>
            <a:spLocks/>
          </p:cNvSpPr>
          <p:nvPr/>
        </p:nvSpPr>
        <p:spPr bwMode="auto">
          <a:xfrm rot="5400000" flipV="1">
            <a:off x="6902831" y="3519163"/>
            <a:ext cx="4882634" cy="48673"/>
          </a:xfrm>
          <a:custGeom>
            <a:avLst/>
            <a:gdLst>
              <a:gd name="T0" fmla="*/ 20994 w 21600"/>
              <a:gd name="T1" fmla="*/ 4943 h 20357"/>
              <a:gd name="T2" fmla="*/ 20855 w 21600"/>
              <a:gd name="T3" fmla="*/ 3770 h 20357"/>
              <a:gd name="T4" fmla="*/ 20102 w 21600"/>
              <a:gd name="T5" fmla="*/ 4409 h 20357"/>
              <a:gd name="T6" fmla="*/ 19759 w 21600"/>
              <a:gd name="T7" fmla="*/ 4943 h 20357"/>
              <a:gd name="T8" fmla="*/ 19333 w 21600"/>
              <a:gd name="T9" fmla="*/ 4943 h 20357"/>
              <a:gd name="T10" fmla="*/ 17785 w 21600"/>
              <a:gd name="T11" fmla="*/ 4943 h 20357"/>
              <a:gd name="T12" fmla="*/ 17526 w 21600"/>
              <a:gd name="T13" fmla="*/ 4258 h 20357"/>
              <a:gd name="T14" fmla="*/ 17180 w 21600"/>
              <a:gd name="T15" fmla="*/ 4943 h 20357"/>
              <a:gd name="T16" fmla="*/ 16490 w 21600"/>
              <a:gd name="T17" fmla="*/ 4082 h 20357"/>
              <a:gd name="T18" fmla="*/ 15676 w 21600"/>
              <a:gd name="T19" fmla="*/ 4943 h 20357"/>
              <a:gd name="T20" fmla="*/ 14169 w 21600"/>
              <a:gd name="T21" fmla="*/ 4943 h 20357"/>
              <a:gd name="T22" fmla="*/ 13770 w 21600"/>
              <a:gd name="T23" fmla="*/ 0 h 20357"/>
              <a:gd name="T24" fmla="*/ 13453 w 21600"/>
              <a:gd name="T25" fmla="*/ 807 h 20357"/>
              <a:gd name="T26" fmla="*/ 12290 w 21600"/>
              <a:gd name="T27" fmla="*/ 2543 h 20357"/>
              <a:gd name="T28" fmla="*/ 12027 w 21600"/>
              <a:gd name="T29" fmla="*/ 2411 h 20357"/>
              <a:gd name="T30" fmla="*/ 11202 w 21600"/>
              <a:gd name="T31" fmla="*/ 1124 h 20357"/>
              <a:gd name="T32" fmla="*/ 9507 w 21600"/>
              <a:gd name="T33" fmla="*/ 3379 h 20357"/>
              <a:gd name="T34" fmla="*/ 8471 w 21600"/>
              <a:gd name="T35" fmla="*/ 2301 h 20357"/>
              <a:gd name="T36" fmla="*/ 7871 w 21600"/>
              <a:gd name="T37" fmla="*/ 644 h 20357"/>
              <a:gd name="T38" fmla="*/ 6985 w 21600"/>
              <a:gd name="T39" fmla="*/ 3343 h 20357"/>
              <a:gd name="T40" fmla="*/ 6397 w 21600"/>
              <a:gd name="T41" fmla="*/ 2990 h 20357"/>
              <a:gd name="T42" fmla="*/ 5666 w 21600"/>
              <a:gd name="T43" fmla="*/ 4943 h 20357"/>
              <a:gd name="T44" fmla="*/ 5013 w 21600"/>
              <a:gd name="T45" fmla="*/ 3458 h 20357"/>
              <a:gd name="T46" fmla="*/ 4682 w 21600"/>
              <a:gd name="T47" fmla="*/ 2265 h 20357"/>
              <a:gd name="T48" fmla="*/ 4023 w 21600"/>
              <a:gd name="T49" fmla="*/ 4943 h 20357"/>
              <a:gd name="T50" fmla="*/ 3526 w 21600"/>
              <a:gd name="T51" fmla="*/ 4943 h 20357"/>
              <a:gd name="T52" fmla="*/ 21 w 21600"/>
              <a:gd name="T53" fmla="*/ 8882 h 20357"/>
              <a:gd name="T54" fmla="*/ 1346 w 21600"/>
              <a:gd name="T55" fmla="*/ 15865 h 20357"/>
              <a:gd name="T56" fmla="*/ 2075 w 21600"/>
              <a:gd name="T57" fmla="*/ 18912 h 20357"/>
              <a:gd name="T58" fmla="*/ 2480 w 21600"/>
              <a:gd name="T59" fmla="*/ 18641 h 20357"/>
              <a:gd name="T60" fmla="*/ 2359 w 21600"/>
              <a:gd name="T61" fmla="*/ 16603 h 20357"/>
              <a:gd name="T62" fmla="*/ 3086 w 21600"/>
              <a:gd name="T63" fmla="*/ 15436 h 20357"/>
              <a:gd name="T64" fmla="*/ 3175 w 21600"/>
              <a:gd name="T65" fmla="*/ 12197 h 20357"/>
              <a:gd name="T66" fmla="*/ 3131 w 21600"/>
              <a:gd name="T67" fmla="*/ 15630 h 20357"/>
              <a:gd name="T68" fmla="*/ 3250 w 21600"/>
              <a:gd name="T69" fmla="*/ 18900 h 20357"/>
              <a:gd name="T70" fmla="*/ 4192 w 21600"/>
              <a:gd name="T71" fmla="*/ 15322 h 20357"/>
              <a:gd name="T72" fmla="*/ 4476 w 21600"/>
              <a:gd name="T73" fmla="*/ 15607 h 20357"/>
              <a:gd name="T74" fmla="*/ 5816 w 21600"/>
              <a:gd name="T75" fmla="*/ 18963 h 20357"/>
              <a:gd name="T76" fmla="*/ 6008 w 21600"/>
              <a:gd name="T77" fmla="*/ 18028 h 20357"/>
              <a:gd name="T78" fmla="*/ 6858 w 21600"/>
              <a:gd name="T79" fmla="*/ 15447 h 20357"/>
              <a:gd name="T80" fmla="*/ 8513 w 21600"/>
              <a:gd name="T81" fmla="*/ 15854 h 20357"/>
              <a:gd name="T82" fmla="*/ 8746 w 21600"/>
              <a:gd name="T83" fmla="*/ 17580 h 20357"/>
              <a:gd name="T84" fmla="*/ 9176 w 21600"/>
              <a:gd name="T85" fmla="*/ 18046 h 20357"/>
              <a:gd name="T86" fmla="*/ 9616 w 21600"/>
              <a:gd name="T87" fmla="*/ 19107 h 20357"/>
              <a:gd name="T88" fmla="*/ 10302 w 21600"/>
              <a:gd name="T89" fmla="*/ 15054 h 20357"/>
              <a:gd name="T90" fmla="*/ 10620 w 21600"/>
              <a:gd name="T91" fmla="*/ 18900 h 20357"/>
              <a:gd name="T92" fmla="*/ 11696 w 21600"/>
              <a:gd name="T93" fmla="*/ 17718 h 20357"/>
              <a:gd name="T94" fmla="*/ 12311 w 21600"/>
              <a:gd name="T95" fmla="*/ 14661 h 20357"/>
              <a:gd name="T96" fmla="*/ 13226 w 21600"/>
              <a:gd name="T97" fmla="*/ 17781 h 20357"/>
              <a:gd name="T98" fmla="*/ 14805 w 21600"/>
              <a:gd name="T99" fmla="*/ 19537 h 20357"/>
              <a:gd name="T100" fmla="*/ 16284 w 21600"/>
              <a:gd name="T101" fmla="*/ 20346 h 20357"/>
              <a:gd name="T102" fmla="*/ 17527 w 21600"/>
              <a:gd name="T103" fmla="*/ 18373 h 20357"/>
              <a:gd name="T104" fmla="*/ 18039 w 21600"/>
              <a:gd name="T105" fmla="*/ 18972 h 20357"/>
              <a:gd name="T106" fmla="*/ 19081 w 21600"/>
              <a:gd name="T107" fmla="*/ 16977 h 20357"/>
              <a:gd name="T108" fmla="*/ 20482 w 21600"/>
              <a:gd name="T109" fmla="*/ 15421 h 20357"/>
              <a:gd name="T110" fmla="*/ 21398 w 21600"/>
              <a:gd name="T111" fmla="*/ 16288 h 20357"/>
              <a:gd name="T112" fmla="*/ 21600 w 21600"/>
              <a:gd name="T113" fmla="*/ 4943 h 20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00" h="20357">
                <a:moveTo>
                  <a:pt x="21600" y="4943"/>
                </a:moveTo>
                <a:lnTo>
                  <a:pt x="21064" y="4943"/>
                </a:lnTo>
                <a:cubicBezTo>
                  <a:pt x="21057" y="4930"/>
                  <a:pt x="21050" y="4922"/>
                  <a:pt x="21042" y="4943"/>
                </a:cubicBezTo>
                <a:lnTo>
                  <a:pt x="20994" y="4943"/>
                </a:lnTo>
                <a:cubicBezTo>
                  <a:pt x="20962" y="4169"/>
                  <a:pt x="20997" y="3027"/>
                  <a:pt x="20955" y="2564"/>
                </a:cubicBezTo>
                <a:cubicBezTo>
                  <a:pt x="20829" y="4011"/>
                  <a:pt x="20818" y="1034"/>
                  <a:pt x="20685" y="2230"/>
                </a:cubicBezTo>
                <a:cubicBezTo>
                  <a:pt x="20723" y="3730"/>
                  <a:pt x="20730" y="3363"/>
                  <a:pt x="20636" y="4826"/>
                </a:cubicBezTo>
                <a:lnTo>
                  <a:pt x="20855" y="3770"/>
                </a:lnTo>
                <a:lnTo>
                  <a:pt x="20780" y="4943"/>
                </a:lnTo>
                <a:lnTo>
                  <a:pt x="20584" y="4943"/>
                </a:lnTo>
                <a:lnTo>
                  <a:pt x="20585" y="3435"/>
                </a:lnTo>
                <a:cubicBezTo>
                  <a:pt x="20428" y="1781"/>
                  <a:pt x="20306" y="5342"/>
                  <a:pt x="20102" y="4409"/>
                </a:cubicBezTo>
                <a:lnTo>
                  <a:pt x="20156" y="4943"/>
                </a:lnTo>
                <a:lnTo>
                  <a:pt x="19970" y="4943"/>
                </a:lnTo>
                <a:cubicBezTo>
                  <a:pt x="19958" y="4327"/>
                  <a:pt x="19932" y="3938"/>
                  <a:pt x="19912" y="3392"/>
                </a:cubicBezTo>
                <a:cubicBezTo>
                  <a:pt x="19915" y="4185"/>
                  <a:pt x="19803" y="3557"/>
                  <a:pt x="19759" y="4943"/>
                </a:cubicBezTo>
                <a:lnTo>
                  <a:pt x="19697" y="4943"/>
                </a:lnTo>
                <a:lnTo>
                  <a:pt x="19653" y="4153"/>
                </a:lnTo>
                <a:cubicBezTo>
                  <a:pt x="19592" y="3903"/>
                  <a:pt x="19550" y="4331"/>
                  <a:pt x="19514" y="4943"/>
                </a:cubicBezTo>
                <a:lnTo>
                  <a:pt x="19333" y="4943"/>
                </a:lnTo>
                <a:cubicBezTo>
                  <a:pt x="19341" y="4650"/>
                  <a:pt x="19357" y="4365"/>
                  <a:pt x="19389" y="4073"/>
                </a:cubicBezTo>
                <a:cubicBezTo>
                  <a:pt x="19336" y="4060"/>
                  <a:pt x="19288" y="3833"/>
                  <a:pt x="19287" y="4694"/>
                </a:cubicBezTo>
                <a:cubicBezTo>
                  <a:pt x="19274" y="4357"/>
                  <a:pt x="19245" y="4626"/>
                  <a:pt x="19212" y="4943"/>
                </a:cubicBezTo>
                <a:lnTo>
                  <a:pt x="17785" y="4943"/>
                </a:lnTo>
                <a:cubicBezTo>
                  <a:pt x="17757" y="4296"/>
                  <a:pt x="17710" y="4640"/>
                  <a:pt x="17659" y="4943"/>
                </a:cubicBezTo>
                <a:lnTo>
                  <a:pt x="17528" y="4943"/>
                </a:lnTo>
                <a:cubicBezTo>
                  <a:pt x="17518" y="4833"/>
                  <a:pt x="17509" y="4697"/>
                  <a:pt x="17499" y="4499"/>
                </a:cubicBezTo>
                <a:lnTo>
                  <a:pt x="17526" y="4258"/>
                </a:lnTo>
                <a:cubicBezTo>
                  <a:pt x="17472" y="3360"/>
                  <a:pt x="17401" y="4266"/>
                  <a:pt x="17321" y="4943"/>
                </a:cubicBezTo>
                <a:lnTo>
                  <a:pt x="17183" y="4943"/>
                </a:lnTo>
                <a:cubicBezTo>
                  <a:pt x="17183" y="4928"/>
                  <a:pt x="17183" y="4911"/>
                  <a:pt x="17183" y="4897"/>
                </a:cubicBezTo>
                <a:cubicBezTo>
                  <a:pt x="17182" y="4913"/>
                  <a:pt x="17181" y="4927"/>
                  <a:pt x="17180" y="4943"/>
                </a:cubicBezTo>
                <a:lnTo>
                  <a:pt x="16671" y="4943"/>
                </a:lnTo>
                <a:cubicBezTo>
                  <a:pt x="16630" y="3940"/>
                  <a:pt x="16579" y="4597"/>
                  <a:pt x="16533" y="4943"/>
                </a:cubicBezTo>
                <a:lnTo>
                  <a:pt x="16483" y="4943"/>
                </a:lnTo>
                <a:lnTo>
                  <a:pt x="16490" y="4082"/>
                </a:lnTo>
                <a:cubicBezTo>
                  <a:pt x="16432" y="4188"/>
                  <a:pt x="16394" y="4535"/>
                  <a:pt x="16361" y="4943"/>
                </a:cubicBezTo>
                <a:lnTo>
                  <a:pt x="15826" y="4943"/>
                </a:lnTo>
                <a:cubicBezTo>
                  <a:pt x="15844" y="4759"/>
                  <a:pt x="15860" y="4575"/>
                  <a:pt x="15875" y="4387"/>
                </a:cubicBezTo>
                <a:cubicBezTo>
                  <a:pt x="15829" y="4374"/>
                  <a:pt x="15738" y="4470"/>
                  <a:pt x="15676" y="4943"/>
                </a:cubicBezTo>
                <a:lnTo>
                  <a:pt x="15061" y="4943"/>
                </a:lnTo>
                <a:cubicBezTo>
                  <a:pt x="15012" y="4684"/>
                  <a:pt x="14969" y="4210"/>
                  <a:pt x="14945" y="3246"/>
                </a:cubicBezTo>
                <a:cubicBezTo>
                  <a:pt x="14712" y="5027"/>
                  <a:pt x="14483" y="2488"/>
                  <a:pt x="14212" y="2774"/>
                </a:cubicBezTo>
                <a:cubicBezTo>
                  <a:pt x="14281" y="5487"/>
                  <a:pt x="14208" y="4323"/>
                  <a:pt x="14169" y="4943"/>
                </a:cubicBezTo>
                <a:lnTo>
                  <a:pt x="13913" y="4943"/>
                </a:lnTo>
                <a:lnTo>
                  <a:pt x="13865" y="4361"/>
                </a:lnTo>
                <a:cubicBezTo>
                  <a:pt x="13819" y="3242"/>
                  <a:pt x="13925" y="3513"/>
                  <a:pt x="13919" y="2651"/>
                </a:cubicBezTo>
                <a:cubicBezTo>
                  <a:pt x="13781" y="2356"/>
                  <a:pt x="13861" y="1021"/>
                  <a:pt x="13770" y="0"/>
                </a:cubicBezTo>
                <a:cubicBezTo>
                  <a:pt x="13788" y="1375"/>
                  <a:pt x="13721" y="1969"/>
                  <a:pt x="13643" y="1444"/>
                </a:cubicBezTo>
                <a:lnTo>
                  <a:pt x="13754" y="3218"/>
                </a:lnTo>
                <a:cubicBezTo>
                  <a:pt x="13560" y="5264"/>
                  <a:pt x="13587" y="-10"/>
                  <a:pt x="13392" y="2017"/>
                </a:cubicBezTo>
                <a:lnTo>
                  <a:pt x="13453" y="807"/>
                </a:lnTo>
                <a:cubicBezTo>
                  <a:pt x="13353" y="1521"/>
                  <a:pt x="13084" y="783"/>
                  <a:pt x="12986" y="3872"/>
                </a:cubicBezTo>
                <a:cubicBezTo>
                  <a:pt x="12969" y="3428"/>
                  <a:pt x="12945" y="2376"/>
                  <a:pt x="12989" y="2098"/>
                </a:cubicBezTo>
                <a:cubicBezTo>
                  <a:pt x="12750" y="1635"/>
                  <a:pt x="12458" y="5385"/>
                  <a:pt x="12272" y="3483"/>
                </a:cubicBezTo>
                <a:lnTo>
                  <a:pt x="12290" y="2543"/>
                </a:lnTo>
                <a:cubicBezTo>
                  <a:pt x="12245" y="2815"/>
                  <a:pt x="12212" y="4309"/>
                  <a:pt x="12157" y="3363"/>
                </a:cubicBezTo>
                <a:cubicBezTo>
                  <a:pt x="12159" y="2975"/>
                  <a:pt x="12175" y="2425"/>
                  <a:pt x="12154" y="2370"/>
                </a:cubicBezTo>
                <a:cubicBezTo>
                  <a:pt x="12130" y="2694"/>
                  <a:pt x="12035" y="4017"/>
                  <a:pt x="11976" y="3469"/>
                </a:cubicBezTo>
                <a:lnTo>
                  <a:pt x="12027" y="2411"/>
                </a:lnTo>
                <a:cubicBezTo>
                  <a:pt x="11840" y="1423"/>
                  <a:pt x="11722" y="3680"/>
                  <a:pt x="11582" y="4943"/>
                </a:cubicBezTo>
                <a:lnTo>
                  <a:pt x="11469" y="4943"/>
                </a:lnTo>
                <a:cubicBezTo>
                  <a:pt x="11442" y="2713"/>
                  <a:pt x="11283" y="1925"/>
                  <a:pt x="11199" y="1516"/>
                </a:cubicBezTo>
                <a:lnTo>
                  <a:pt x="11202" y="1124"/>
                </a:lnTo>
                <a:cubicBezTo>
                  <a:pt x="10931" y="783"/>
                  <a:pt x="10741" y="3419"/>
                  <a:pt x="10490" y="4505"/>
                </a:cubicBezTo>
                <a:cubicBezTo>
                  <a:pt x="10334" y="1501"/>
                  <a:pt x="9962" y="3246"/>
                  <a:pt x="9711" y="1562"/>
                </a:cubicBezTo>
                <a:cubicBezTo>
                  <a:pt x="9749" y="2064"/>
                  <a:pt x="9705" y="3719"/>
                  <a:pt x="9660" y="3997"/>
                </a:cubicBezTo>
                <a:cubicBezTo>
                  <a:pt x="9601" y="3435"/>
                  <a:pt x="9497" y="5918"/>
                  <a:pt x="9507" y="3379"/>
                </a:cubicBezTo>
                <a:lnTo>
                  <a:pt x="9528" y="3428"/>
                </a:lnTo>
                <a:cubicBezTo>
                  <a:pt x="9483" y="937"/>
                  <a:pt x="9363" y="1599"/>
                  <a:pt x="9268" y="1531"/>
                </a:cubicBezTo>
                <a:lnTo>
                  <a:pt x="9253" y="4853"/>
                </a:lnTo>
                <a:cubicBezTo>
                  <a:pt x="9006" y="22"/>
                  <a:pt x="8605" y="6627"/>
                  <a:pt x="8471" y="2301"/>
                </a:cubicBezTo>
                <a:cubicBezTo>
                  <a:pt x="8411" y="3131"/>
                  <a:pt x="8337" y="3122"/>
                  <a:pt x="8278" y="3951"/>
                </a:cubicBezTo>
                <a:lnTo>
                  <a:pt x="8281" y="2170"/>
                </a:lnTo>
                <a:cubicBezTo>
                  <a:pt x="8116" y="1716"/>
                  <a:pt x="8034" y="1492"/>
                  <a:pt x="7830" y="1917"/>
                </a:cubicBezTo>
                <a:lnTo>
                  <a:pt x="7871" y="644"/>
                </a:lnTo>
                <a:cubicBezTo>
                  <a:pt x="7786" y="560"/>
                  <a:pt x="7747" y="3413"/>
                  <a:pt x="7690" y="4943"/>
                </a:cubicBezTo>
                <a:lnTo>
                  <a:pt x="7608" y="4943"/>
                </a:lnTo>
                <a:lnTo>
                  <a:pt x="7588" y="3225"/>
                </a:lnTo>
                <a:cubicBezTo>
                  <a:pt x="7387" y="3267"/>
                  <a:pt x="7184" y="933"/>
                  <a:pt x="6985" y="3343"/>
                </a:cubicBezTo>
                <a:cubicBezTo>
                  <a:pt x="6988" y="2955"/>
                  <a:pt x="6994" y="2185"/>
                  <a:pt x="7027" y="2078"/>
                </a:cubicBezTo>
                <a:cubicBezTo>
                  <a:pt x="6935" y="2011"/>
                  <a:pt x="6679" y="390"/>
                  <a:pt x="6693" y="3587"/>
                </a:cubicBezTo>
                <a:cubicBezTo>
                  <a:pt x="6671" y="1786"/>
                  <a:pt x="6482" y="3751"/>
                  <a:pt x="6380" y="4742"/>
                </a:cubicBezTo>
                <a:lnTo>
                  <a:pt x="6397" y="2990"/>
                </a:lnTo>
                <a:cubicBezTo>
                  <a:pt x="6361" y="3851"/>
                  <a:pt x="6339" y="4470"/>
                  <a:pt x="6318" y="4943"/>
                </a:cubicBezTo>
                <a:lnTo>
                  <a:pt x="5669" y="4943"/>
                </a:lnTo>
                <a:cubicBezTo>
                  <a:pt x="5668" y="4914"/>
                  <a:pt x="5668" y="4886"/>
                  <a:pt x="5667" y="4857"/>
                </a:cubicBezTo>
                <a:cubicBezTo>
                  <a:pt x="5667" y="4885"/>
                  <a:pt x="5666" y="4915"/>
                  <a:pt x="5666" y="4943"/>
                </a:cubicBezTo>
                <a:lnTo>
                  <a:pt x="5401" y="4943"/>
                </a:lnTo>
                <a:cubicBezTo>
                  <a:pt x="5396" y="3417"/>
                  <a:pt x="5292" y="3095"/>
                  <a:pt x="5378" y="913"/>
                </a:cubicBezTo>
                <a:cubicBezTo>
                  <a:pt x="5289" y="2130"/>
                  <a:pt x="5136" y="4777"/>
                  <a:pt x="5027" y="4017"/>
                </a:cubicBezTo>
                <a:cubicBezTo>
                  <a:pt x="5022" y="3861"/>
                  <a:pt x="5017" y="3707"/>
                  <a:pt x="5013" y="3458"/>
                </a:cubicBezTo>
                <a:lnTo>
                  <a:pt x="5024" y="3277"/>
                </a:lnTo>
                <a:cubicBezTo>
                  <a:pt x="4999" y="3116"/>
                  <a:pt x="4977" y="3267"/>
                  <a:pt x="4956" y="3538"/>
                </a:cubicBezTo>
                <a:cubicBezTo>
                  <a:pt x="4921" y="3273"/>
                  <a:pt x="4899" y="3076"/>
                  <a:pt x="4866" y="3052"/>
                </a:cubicBezTo>
                <a:cubicBezTo>
                  <a:pt x="4853" y="1716"/>
                  <a:pt x="4738" y="2331"/>
                  <a:pt x="4682" y="2265"/>
                </a:cubicBezTo>
                <a:cubicBezTo>
                  <a:pt x="4686" y="3918"/>
                  <a:pt x="4623" y="3779"/>
                  <a:pt x="4671" y="4943"/>
                </a:cubicBezTo>
                <a:lnTo>
                  <a:pt x="4496" y="4943"/>
                </a:lnTo>
                <a:cubicBezTo>
                  <a:pt x="4457" y="4256"/>
                  <a:pt x="4425" y="3637"/>
                  <a:pt x="4416" y="2985"/>
                </a:cubicBezTo>
                <a:cubicBezTo>
                  <a:pt x="4293" y="3702"/>
                  <a:pt x="4139" y="3731"/>
                  <a:pt x="4023" y="4943"/>
                </a:cubicBezTo>
                <a:lnTo>
                  <a:pt x="3901" y="4943"/>
                </a:lnTo>
                <a:cubicBezTo>
                  <a:pt x="3905" y="4884"/>
                  <a:pt x="3909" y="4817"/>
                  <a:pt x="3912" y="4727"/>
                </a:cubicBezTo>
                <a:cubicBezTo>
                  <a:pt x="3902" y="4812"/>
                  <a:pt x="3891" y="4881"/>
                  <a:pt x="3880" y="4943"/>
                </a:cubicBezTo>
                <a:lnTo>
                  <a:pt x="3526" y="4943"/>
                </a:lnTo>
                <a:lnTo>
                  <a:pt x="3527" y="4912"/>
                </a:lnTo>
                <a:cubicBezTo>
                  <a:pt x="3402" y="3504"/>
                  <a:pt x="3295" y="4022"/>
                  <a:pt x="3190" y="4943"/>
                </a:cubicBezTo>
                <a:lnTo>
                  <a:pt x="0" y="4943"/>
                </a:lnTo>
                <a:lnTo>
                  <a:pt x="21" y="8882"/>
                </a:lnTo>
                <a:lnTo>
                  <a:pt x="29" y="8882"/>
                </a:lnTo>
                <a:lnTo>
                  <a:pt x="29" y="14010"/>
                </a:lnTo>
                <a:cubicBezTo>
                  <a:pt x="32" y="14222"/>
                  <a:pt x="69" y="13664"/>
                  <a:pt x="68" y="14013"/>
                </a:cubicBezTo>
                <a:cubicBezTo>
                  <a:pt x="88" y="13349"/>
                  <a:pt x="1288" y="15980"/>
                  <a:pt x="1346" y="15865"/>
                </a:cubicBezTo>
                <a:cubicBezTo>
                  <a:pt x="1239" y="19183"/>
                  <a:pt x="1563" y="16060"/>
                  <a:pt x="1535" y="19618"/>
                </a:cubicBezTo>
                <a:cubicBezTo>
                  <a:pt x="1614" y="16634"/>
                  <a:pt x="1819" y="18292"/>
                  <a:pt x="1959" y="16637"/>
                </a:cubicBezTo>
                <a:cubicBezTo>
                  <a:pt x="1951" y="16874"/>
                  <a:pt x="1936" y="17354"/>
                  <a:pt x="1923" y="17202"/>
                </a:cubicBezTo>
                <a:cubicBezTo>
                  <a:pt x="2002" y="17450"/>
                  <a:pt x="2025" y="18349"/>
                  <a:pt x="2075" y="18912"/>
                </a:cubicBezTo>
                <a:cubicBezTo>
                  <a:pt x="2085" y="16449"/>
                  <a:pt x="2207" y="15885"/>
                  <a:pt x="2273" y="14365"/>
                </a:cubicBezTo>
                <a:cubicBezTo>
                  <a:pt x="2369" y="16743"/>
                  <a:pt x="2215" y="17257"/>
                  <a:pt x="2245" y="19542"/>
                </a:cubicBezTo>
                <a:cubicBezTo>
                  <a:pt x="2240" y="17545"/>
                  <a:pt x="2412" y="17549"/>
                  <a:pt x="2379" y="15885"/>
                </a:cubicBezTo>
                <a:cubicBezTo>
                  <a:pt x="2453" y="17356"/>
                  <a:pt x="2442" y="16599"/>
                  <a:pt x="2480" y="18641"/>
                </a:cubicBezTo>
                <a:cubicBezTo>
                  <a:pt x="2493" y="15559"/>
                  <a:pt x="2549" y="18120"/>
                  <a:pt x="2610" y="16227"/>
                </a:cubicBezTo>
                <a:cubicBezTo>
                  <a:pt x="2716" y="17746"/>
                  <a:pt x="2209" y="19114"/>
                  <a:pt x="2326" y="18175"/>
                </a:cubicBezTo>
                <a:cubicBezTo>
                  <a:pt x="2382" y="19120"/>
                  <a:pt x="2278" y="20212"/>
                  <a:pt x="2278" y="20212"/>
                </a:cubicBezTo>
                <a:cubicBezTo>
                  <a:pt x="2397" y="20262"/>
                  <a:pt x="2334" y="17938"/>
                  <a:pt x="2359" y="16603"/>
                </a:cubicBezTo>
                <a:cubicBezTo>
                  <a:pt x="2501" y="15945"/>
                  <a:pt x="2425" y="18315"/>
                  <a:pt x="2473" y="19502"/>
                </a:cubicBezTo>
                <a:cubicBezTo>
                  <a:pt x="2562" y="18888"/>
                  <a:pt x="2630" y="16755"/>
                  <a:pt x="2696" y="16846"/>
                </a:cubicBezTo>
                <a:cubicBezTo>
                  <a:pt x="2701" y="17228"/>
                  <a:pt x="2713" y="17368"/>
                  <a:pt x="2698" y="17847"/>
                </a:cubicBezTo>
                <a:cubicBezTo>
                  <a:pt x="2792" y="16000"/>
                  <a:pt x="2977" y="17757"/>
                  <a:pt x="3086" y="15436"/>
                </a:cubicBezTo>
                <a:cubicBezTo>
                  <a:pt x="3094" y="15642"/>
                  <a:pt x="3098" y="15837"/>
                  <a:pt x="3100" y="16012"/>
                </a:cubicBezTo>
                <a:cubicBezTo>
                  <a:pt x="3082" y="14849"/>
                  <a:pt x="3080" y="13666"/>
                  <a:pt x="3083" y="12825"/>
                </a:cubicBezTo>
                <a:cubicBezTo>
                  <a:pt x="3116" y="12801"/>
                  <a:pt x="3145" y="12279"/>
                  <a:pt x="3167" y="12197"/>
                </a:cubicBezTo>
                <a:lnTo>
                  <a:pt x="3175" y="12197"/>
                </a:lnTo>
                <a:cubicBezTo>
                  <a:pt x="3186" y="12212"/>
                  <a:pt x="3196" y="12376"/>
                  <a:pt x="3202" y="12876"/>
                </a:cubicBezTo>
                <a:cubicBezTo>
                  <a:pt x="3170" y="12832"/>
                  <a:pt x="3167" y="13444"/>
                  <a:pt x="3152" y="13918"/>
                </a:cubicBezTo>
                <a:lnTo>
                  <a:pt x="3208" y="13258"/>
                </a:lnTo>
                <a:cubicBezTo>
                  <a:pt x="3258" y="15441"/>
                  <a:pt x="3131" y="14014"/>
                  <a:pt x="3131" y="15630"/>
                </a:cubicBezTo>
                <a:cubicBezTo>
                  <a:pt x="3240" y="14919"/>
                  <a:pt x="3367" y="13113"/>
                  <a:pt x="3451" y="13729"/>
                </a:cubicBezTo>
                <a:cubicBezTo>
                  <a:pt x="3468" y="15865"/>
                  <a:pt x="3255" y="14448"/>
                  <a:pt x="3367" y="16347"/>
                </a:cubicBezTo>
                <a:lnTo>
                  <a:pt x="3238" y="15532"/>
                </a:lnTo>
                <a:cubicBezTo>
                  <a:pt x="3336" y="18900"/>
                  <a:pt x="3159" y="15295"/>
                  <a:pt x="3250" y="18900"/>
                </a:cubicBezTo>
                <a:cubicBezTo>
                  <a:pt x="3420" y="19519"/>
                  <a:pt x="3440" y="17812"/>
                  <a:pt x="3610" y="18435"/>
                </a:cubicBezTo>
                <a:cubicBezTo>
                  <a:pt x="3648" y="17248"/>
                  <a:pt x="3597" y="16679"/>
                  <a:pt x="3635" y="15492"/>
                </a:cubicBezTo>
                <a:cubicBezTo>
                  <a:pt x="3876" y="13360"/>
                  <a:pt x="3825" y="20863"/>
                  <a:pt x="4002" y="18017"/>
                </a:cubicBezTo>
                <a:cubicBezTo>
                  <a:pt x="4048" y="16594"/>
                  <a:pt x="4066" y="13892"/>
                  <a:pt x="4192" y="15322"/>
                </a:cubicBezTo>
                <a:lnTo>
                  <a:pt x="4149" y="17736"/>
                </a:lnTo>
                <a:cubicBezTo>
                  <a:pt x="4314" y="17974"/>
                  <a:pt x="4243" y="14265"/>
                  <a:pt x="4416" y="15890"/>
                </a:cubicBezTo>
                <a:cubicBezTo>
                  <a:pt x="4385" y="16838"/>
                  <a:pt x="4286" y="16689"/>
                  <a:pt x="4311" y="16977"/>
                </a:cubicBezTo>
                <a:cubicBezTo>
                  <a:pt x="4423" y="18884"/>
                  <a:pt x="4390" y="15607"/>
                  <a:pt x="4476" y="15607"/>
                </a:cubicBezTo>
                <a:lnTo>
                  <a:pt x="4494" y="17746"/>
                </a:lnTo>
                <a:cubicBezTo>
                  <a:pt x="4669" y="17409"/>
                  <a:pt x="4862" y="15865"/>
                  <a:pt x="5056" y="15475"/>
                </a:cubicBezTo>
                <a:cubicBezTo>
                  <a:pt x="5045" y="16111"/>
                  <a:pt x="5012" y="16780"/>
                  <a:pt x="5058" y="17434"/>
                </a:cubicBezTo>
                <a:cubicBezTo>
                  <a:pt x="5302" y="16366"/>
                  <a:pt x="5580" y="17695"/>
                  <a:pt x="5816" y="18963"/>
                </a:cubicBezTo>
                <a:lnTo>
                  <a:pt x="5907" y="17118"/>
                </a:lnTo>
                <a:cubicBezTo>
                  <a:pt x="5928" y="17139"/>
                  <a:pt x="5946" y="17951"/>
                  <a:pt x="5923" y="18310"/>
                </a:cubicBezTo>
                <a:cubicBezTo>
                  <a:pt x="6015" y="19009"/>
                  <a:pt x="5928" y="17139"/>
                  <a:pt x="5972" y="16413"/>
                </a:cubicBezTo>
                <a:cubicBezTo>
                  <a:pt x="6024" y="16284"/>
                  <a:pt x="6041" y="17474"/>
                  <a:pt x="6008" y="18028"/>
                </a:cubicBezTo>
                <a:cubicBezTo>
                  <a:pt x="6170" y="16464"/>
                  <a:pt x="6470" y="14657"/>
                  <a:pt x="6642" y="16634"/>
                </a:cubicBezTo>
                <a:lnTo>
                  <a:pt x="6608" y="17182"/>
                </a:lnTo>
                <a:cubicBezTo>
                  <a:pt x="6741" y="17931"/>
                  <a:pt x="6759" y="13399"/>
                  <a:pt x="6882" y="15120"/>
                </a:cubicBezTo>
                <a:lnTo>
                  <a:pt x="6858" y="15447"/>
                </a:lnTo>
                <a:cubicBezTo>
                  <a:pt x="7148" y="16247"/>
                  <a:pt x="7467" y="14557"/>
                  <a:pt x="7688" y="17343"/>
                </a:cubicBezTo>
                <a:cubicBezTo>
                  <a:pt x="7730" y="14685"/>
                  <a:pt x="7974" y="18529"/>
                  <a:pt x="7993" y="14821"/>
                </a:cubicBezTo>
                <a:cubicBezTo>
                  <a:pt x="8158" y="16659"/>
                  <a:pt x="8111" y="17320"/>
                  <a:pt x="8343" y="18556"/>
                </a:cubicBezTo>
                <a:cubicBezTo>
                  <a:pt x="8405" y="18727"/>
                  <a:pt x="8436" y="16241"/>
                  <a:pt x="8513" y="15854"/>
                </a:cubicBezTo>
                <a:lnTo>
                  <a:pt x="8514" y="17793"/>
                </a:lnTo>
                <a:lnTo>
                  <a:pt x="8619" y="15759"/>
                </a:lnTo>
                <a:lnTo>
                  <a:pt x="8674" y="18077"/>
                </a:lnTo>
                <a:lnTo>
                  <a:pt x="8746" y="17580"/>
                </a:lnTo>
                <a:cubicBezTo>
                  <a:pt x="8717" y="17466"/>
                  <a:pt x="8685" y="16710"/>
                  <a:pt x="8690" y="16151"/>
                </a:cubicBezTo>
                <a:cubicBezTo>
                  <a:pt x="8802" y="15274"/>
                  <a:pt x="8964" y="17502"/>
                  <a:pt x="8967" y="18495"/>
                </a:cubicBezTo>
                <a:lnTo>
                  <a:pt x="9233" y="16855"/>
                </a:lnTo>
                <a:cubicBezTo>
                  <a:pt x="9228" y="17433"/>
                  <a:pt x="9203" y="17729"/>
                  <a:pt x="9176" y="18046"/>
                </a:cubicBezTo>
                <a:cubicBezTo>
                  <a:pt x="9272" y="17015"/>
                  <a:pt x="9183" y="20301"/>
                  <a:pt x="9303" y="18629"/>
                </a:cubicBezTo>
                <a:cubicBezTo>
                  <a:pt x="9286" y="18189"/>
                  <a:pt x="9312" y="17474"/>
                  <a:pt x="9315" y="17082"/>
                </a:cubicBezTo>
                <a:cubicBezTo>
                  <a:pt x="9380" y="18254"/>
                  <a:pt x="9528" y="18265"/>
                  <a:pt x="9637" y="17772"/>
                </a:cubicBezTo>
                <a:lnTo>
                  <a:pt x="9616" y="19107"/>
                </a:lnTo>
                <a:cubicBezTo>
                  <a:pt x="9814" y="19447"/>
                  <a:pt x="10033" y="18466"/>
                  <a:pt x="10254" y="18490"/>
                </a:cubicBezTo>
                <a:cubicBezTo>
                  <a:pt x="10175" y="17867"/>
                  <a:pt x="10193" y="15552"/>
                  <a:pt x="10258" y="15329"/>
                </a:cubicBezTo>
                <a:lnTo>
                  <a:pt x="10284" y="17379"/>
                </a:lnTo>
                <a:cubicBezTo>
                  <a:pt x="10326" y="16111"/>
                  <a:pt x="10216" y="16603"/>
                  <a:pt x="10302" y="15054"/>
                </a:cubicBezTo>
                <a:cubicBezTo>
                  <a:pt x="10385" y="15291"/>
                  <a:pt x="10358" y="17384"/>
                  <a:pt x="10310" y="18050"/>
                </a:cubicBezTo>
                <a:lnTo>
                  <a:pt x="10411" y="17339"/>
                </a:lnTo>
                <a:cubicBezTo>
                  <a:pt x="10417" y="17951"/>
                  <a:pt x="10393" y="18274"/>
                  <a:pt x="10387" y="19054"/>
                </a:cubicBezTo>
                <a:cubicBezTo>
                  <a:pt x="10428" y="17781"/>
                  <a:pt x="10561" y="21109"/>
                  <a:pt x="10620" y="18900"/>
                </a:cubicBezTo>
                <a:lnTo>
                  <a:pt x="10626" y="19510"/>
                </a:lnTo>
                <a:cubicBezTo>
                  <a:pt x="10848" y="19527"/>
                  <a:pt x="10948" y="18822"/>
                  <a:pt x="11128" y="18719"/>
                </a:cubicBezTo>
                <a:cubicBezTo>
                  <a:pt x="11132" y="16950"/>
                  <a:pt x="11202" y="17343"/>
                  <a:pt x="11256" y="15914"/>
                </a:cubicBezTo>
                <a:cubicBezTo>
                  <a:pt x="11389" y="16478"/>
                  <a:pt x="11536" y="17867"/>
                  <a:pt x="11696" y="17718"/>
                </a:cubicBezTo>
                <a:cubicBezTo>
                  <a:pt x="11808" y="16838"/>
                  <a:pt x="11729" y="16221"/>
                  <a:pt x="11779" y="15170"/>
                </a:cubicBezTo>
                <a:cubicBezTo>
                  <a:pt x="11787" y="16780"/>
                  <a:pt x="11947" y="16630"/>
                  <a:pt x="11864" y="17786"/>
                </a:cubicBezTo>
                <a:cubicBezTo>
                  <a:pt x="12056" y="17525"/>
                  <a:pt x="12109" y="17466"/>
                  <a:pt x="12352" y="16158"/>
                </a:cubicBezTo>
                <a:cubicBezTo>
                  <a:pt x="12325" y="15497"/>
                  <a:pt x="12296" y="15211"/>
                  <a:pt x="12311" y="14661"/>
                </a:cubicBezTo>
                <a:cubicBezTo>
                  <a:pt x="12355" y="14396"/>
                  <a:pt x="12411" y="15337"/>
                  <a:pt x="12405" y="16111"/>
                </a:cubicBezTo>
                <a:lnTo>
                  <a:pt x="12393" y="16276"/>
                </a:lnTo>
                <a:cubicBezTo>
                  <a:pt x="12665" y="13863"/>
                  <a:pt x="13021" y="20973"/>
                  <a:pt x="13238" y="17615"/>
                </a:cubicBezTo>
                <a:lnTo>
                  <a:pt x="13226" y="17781"/>
                </a:lnTo>
                <a:lnTo>
                  <a:pt x="13451" y="16031"/>
                </a:lnTo>
                <a:cubicBezTo>
                  <a:pt x="13554" y="16310"/>
                  <a:pt x="13389" y="17242"/>
                  <a:pt x="13465" y="18238"/>
                </a:cubicBezTo>
                <a:cubicBezTo>
                  <a:pt x="13708" y="15552"/>
                  <a:pt x="13848" y="18629"/>
                  <a:pt x="14048" y="16838"/>
                </a:cubicBezTo>
                <a:cubicBezTo>
                  <a:pt x="14203" y="21590"/>
                  <a:pt x="14597" y="16504"/>
                  <a:pt x="14805" y="19537"/>
                </a:cubicBezTo>
                <a:lnTo>
                  <a:pt x="14793" y="18418"/>
                </a:lnTo>
                <a:cubicBezTo>
                  <a:pt x="14847" y="17320"/>
                  <a:pt x="14858" y="19058"/>
                  <a:pt x="14898" y="19315"/>
                </a:cubicBezTo>
                <a:cubicBezTo>
                  <a:pt x="14892" y="18446"/>
                  <a:pt x="14840" y="18310"/>
                  <a:pt x="14873" y="17701"/>
                </a:cubicBezTo>
                <a:cubicBezTo>
                  <a:pt x="15330" y="16353"/>
                  <a:pt x="15816" y="19336"/>
                  <a:pt x="16284" y="20346"/>
                </a:cubicBezTo>
                <a:cubicBezTo>
                  <a:pt x="16455" y="20646"/>
                  <a:pt x="16381" y="14557"/>
                  <a:pt x="16597" y="17228"/>
                </a:cubicBezTo>
                <a:lnTo>
                  <a:pt x="16536" y="19305"/>
                </a:lnTo>
                <a:cubicBezTo>
                  <a:pt x="16882" y="16815"/>
                  <a:pt x="17243" y="19391"/>
                  <a:pt x="17581" y="17277"/>
                </a:cubicBezTo>
                <a:cubicBezTo>
                  <a:pt x="17561" y="17757"/>
                  <a:pt x="17560" y="18380"/>
                  <a:pt x="17527" y="18373"/>
                </a:cubicBezTo>
                <a:cubicBezTo>
                  <a:pt x="17599" y="19882"/>
                  <a:pt x="17792" y="18446"/>
                  <a:pt x="17793" y="17213"/>
                </a:cubicBezTo>
                <a:cubicBezTo>
                  <a:pt x="17846" y="17354"/>
                  <a:pt x="17805" y="18328"/>
                  <a:pt x="17837" y="18954"/>
                </a:cubicBezTo>
                <a:cubicBezTo>
                  <a:pt x="17909" y="19844"/>
                  <a:pt x="18017" y="17027"/>
                  <a:pt x="18056" y="18529"/>
                </a:cubicBezTo>
                <a:cubicBezTo>
                  <a:pt x="18060" y="18688"/>
                  <a:pt x="18050" y="18848"/>
                  <a:pt x="18039" y="18972"/>
                </a:cubicBezTo>
                <a:cubicBezTo>
                  <a:pt x="18100" y="18558"/>
                  <a:pt x="18236" y="19156"/>
                  <a:pt x="18195" y="17580"/>
                </a:cubicBezTo>
                <a:cubicBezTo>
                  <a:pt x="18322" y="18410"/>
                  <a:pt x="18438" y="16805"/>
                  <a:pt x="18539" y="17837"/>
                </a:cubicBezTo>
                <a:cubicBezTo>
                  <a:pt x="18605" y="15890"/>
                  <a:pt x="18757" y="18774"/>
                  <a:pt x="18778" y="16020"/>
                </a:cubicBezTo>
                <a:cubicBezTo>
                  <a:pt x="18769" y="18865"/>
                  <a:pt x="19000" y="18315"/>
                  <a:pt x="19081" y="16977"/>
                </a:cubicBezTo>
                <a:cubicBezTo>
                  <a:pt x="19054" y="17837"/>
                  <a:pt x="19151" y="17867"/>
                  <a:pt x="19119" y="19058"/>
                </a:cubicBezTo>
                <a:cubicBezTo>
                  <a:pt x="19211" y="19019"/>
                  <a:pt x="19295" y="18490"/>
                  <a:pt x="19279" y="17029"/>
                </a:cubicBezTo>
                <a:cubicBezTo>
                  <a:pt x="19448" y="20432"/>
                  <a:pt x="19618" y="14290"/>
                  <a:pt x="19713" y="18651"/>
                </a:cubicBezTo>
                <a:cubicBezTo>
                  <a:pt x="19985" y="17123"/>
                  <a:pt x="20237" y="16089"/>
                  <a:pt x="20482" y="15421"/>
                </a:cubicBezTo>
                <a:cubicBezTo>
                  <a:pt x="20473" y="18258"/>
                  <a:pt x="20211" y="15704"/>
                  <a:pt x="20222" y="18682"/>
                </a:cubicBezTo>
                <a:cubicBezTo>
                  <a:pt x="20454" y="17514"/>
                  <a:pt x="20588" y="15079"/>
                  <a:pt x="20819" y="15764"/>
                </a:cubicBezTo>
                <a:cubicBezTo>
                  <a:pt x="20878" y="16151"/>
                  <a:pt x="20785" y="16993"/>
                  <a:pt x="20765" y="17479"/>
                </a:cubicBezTo>
                <a:cubicBezTo>
                  <a:pt x="20989" y="16351"/>
                  <a:pt x="21198" y="17586"/>
                  <a:pt x="21398" y="16288"/>
                </a:cubicBezTo>
                <a:lnTo>
                  <a:pt x="21472" y="12197"/>
                </a:lnTo>
                <a:lnTo>
                  <a:pt x="21600" y="8787"/>
                </a:lnTo>
                <a:cubicBezTo>
                  <a:pt x="21600" y="8787"/>
                  <a:pt x="21600" y="4943"/>
                  <a:pt x="21600" y="4943"/>
                </a:cubicBezTo>
                <a:close/>
                <a:moveTo>
                  <a:pt x="21600" y="4943"/>
                </a:moveTo>
              </a:path>
            </a:pathLst>
          </a:custGeom>
          <a:solidFill>
            <a:srgbClr val="4D4D4D">
              <a:alpha val="21000"/>
            </a:srgbClr>
          </a:solidFill>
          <a:ln>
            <a:noFill/>
          </a:ln>
          <a:extLst>
            <a:ext uri="{91240B29-F687-4f45-9708-019B960494DF}">
              <a14:hiddenLine xmlns:lc="http://schemas.openxmlformats.org/drawingml/2006/lockedCanvas"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187A34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CB2E0C7-9BB3-4694-AB24-FD5565FD4D3A}"/>
              </a:ext>
            </a:extLst>
          </p:cNvPr>
          <p:cNvSpPr txBox="1"/>
          <p:nvPr/>
        </p:nvSpPr>
        <p:spPr>
          <a:xfrm>
            <a:off x="9795078" y="704928"/>
            <a:ext cx="1956375" cy="347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il (KNY)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95F7A3AB-7FC7-4390-93EF-71B0E7909636}"/>
              </a:ext>
            </a:extLst>
          </p:cNvPr>
          <p:cNvSpPr/>
          <p:nvPr/>
        </p:nvSpPr>
        <p:spPr>
          <a:xfrm>
            <a:off x="2062588" y="658256"/>
            <a:ext cx="10129412" cy="336398"/>
          </a:xfrm>
          <a:prstGeom prst="roundRect">
            <a:avLst/>
          </a:prstGeom>
          <a:noFill/>
          <a:ln w="63500" cap="flat" cmpd="sng" algn="ctr">
            <a:solidFill>
              <a:srgbClr val="0E542B"/>
            </a:solidFill>
            <a:prstDash val="solid"/>
            <a:miter lim="800000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F54A2EF-726E-42C8-AF0D-1A3D8BC88CC0}"/>
              </a:ext>
            </a:extLst>
          </p:cNvPr>
          <p:cNvSpPr txBox="1"/>
          <p:nvPr/>
        </p:nvSpPr>
        <p:spPr>
          <a:xfrm>
            <a:off x="4595006" y="1119865"/>
            <a:ext cx="7544899" cy="242693"/>
          </a:xfrm>
          <a:prstGeom prst="rect">
            <a:avLst/>
          </a:prstGeom>
          <a:solidFill>
            <a:srgbClr val="00642D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er House 2.0 </a:t>
            </a: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6,500 DS, Nationwide, Mechanics (1). Pay for performance (Rebate incentive); (2). Block Display incentive)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306C907-CEBF-4BAA-ADCD-E9ABBCA30C22}"/>
              </a:ext>
            </a:extLst>
          </p:cNvPr>
          <p:cNvSpPr txBox="1"/>
          <p:nvPr/>
        </p:nvSpPr>
        <p:spPr>
          <a:xfrm>
            <a:off x="2088603" y="1584802"/>
            <a:ext cx="2449058" cy="353943"/>
          </a:xfrm>
          <a:prstGeom prst="rect">
            <a:avLst/>
          </a:prstGeom>
          <a:solidFill>
            <a:srgbClr val="FFFFFF">
              <a:lumMod val="65000"/>
            </a:srgbClr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hor White NCP and Anchor Smooth NCP Comb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6,699, DS&amp;WS, Nationwide, Mechanics (1). 15 AB+5 AW get 1.5%; (2). 5 AW get 5%)</a:t>
            </a:r>
            <a:endParaRPr kumimoji="0" lang="en-UK" sz="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97145B6-4C3D-4BFE-8D69-8A0E56C094DD}"/>
              </a:ext>
            </a:extLst>
          </p:cNvPr>
          <p:cNvSpPr txBox="1"/>
          <p:nvPr/>
        </p:nvSpPr>
        <p:spPr>
          <a:xfrm>
            <a:off x="2088603" y="1119864"/>
            <a:ext cx="2449058" cy="430887"/>
          </a:xfrm>
          <a:prstGeom prst="rect">
            <a:avLst/>
          </a:prstGeom>
          <a:solidFill>
            <a:srgbClr val="00642D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er House 1.0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</a:t>
            </a:r>
            <a:r>
              <a:rPr lang="en-US" sz="700" kern="0" dirty="0">
                <a:solidFill>
                  <a:srgbClr val="FFFFFF"/>
                </a:solidFill>
                <a:latin typeface="Arial"/>
              </a:rPr>
              <a:t>5,956 DS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amp; WS, Nationwide, Mechanics: get 1x cooler box if achieve 3 KPIs for 4mos (PICOS, Vol., DOT order)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50EC700F-1B7A-4E59-AC2E-FD9BEBF5E90B}"/>
              </a:ext>
            </a:extLst>
          </p:cNvPr>
          <p:cNvSpPr txBox="1"/>
          <p:nvPr/>
        </p:nvSpPr>
        <p:spPr>
          <a:xfrm>
            <a:off x="2099776" y="2868033"/>
            <a:ext cx="4809882" cy="200055"/>
          </a:xfrm>
          <a:prstGeom prst="rect">
            <a:avLst/>
          </a:prstGeom>
          <a:solidFill>
            <a:srgbClr val="404040">
              <a:lumMod val="50000"/>
            </a:srgbClr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 Reserve Consumer w Voucher in MOFT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6x S Liquor, Mec</a:t>
            </a:r>
            <a:r>
              <a:rPr lang="en-US" sz="600" kern="0" dirty="0">
                <a:solidFill>
                  <a:srgbClr val="FFFFFF"/>
                </a:solidFill>
                <a:latin typeface="Arial"/>
              </a:rPr>
              <a:t>ha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cs: </a:t>
            </a:r>
            <a:r>
              <a:rPr lang="en-US" sz="600" kern="0" dirty="0">
                <a:solidFill>
                  <a:srgbClr val="FFFFFF"/>
                </a:solidFill>
                <a:latin typeface="Arial"/>
              </a:rPr>
              <a:t>1ctn get 6$ voucher, 1 pack of 4 get 1$ voucher)</a:t>
            </a:r>
            <a:endParaRPr lang="en-UK" sz="7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31D51D42-9A50-422D-AA46-11B1EED28E43}"/>
              </a:ext>
            </a:extLst>
          </p:cNvPr>
          <p:cNvSpPr txBox="1"/>
          <p:nvPr/>
        </p:nvSpPr>
        <p:spPr>
          <a:xfrm>
            <a:off x="2088914" y="2182525"/>
            <a:ext cx="4856339" cy="199659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Credential Consumer w 15% in MOFT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</a:t>
            </a:r>
            <a:r>
              <a:rPr lang="en-US" sz="700" kern="0" dirty="0">
                <a:solidFill>
                  <a:srgbClr val="FFFFFF"/>
                </a:solidFill>
                <a:latin typeface="Arial"/>
              </a:rPr>
              <a:t>72x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ucky, Mechanics: 15% discount on the invoice)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45C81C36-C383-4A41-8687-F737BFA993D1}"/>
              </a:ext>
            </a:extLst>
          </p:cNvPr>
          <p:cNvSpPr txBox="1"/>
          <p:nvPr/>
        </p:nvSpPr>
        <p:spPr>
          <a:xfrm>
            <a:off x="2089691" y="1928145"/>
            <a:ext cx="10042077" cy="242693"/>
          </a:xfrm>
          <a:prstGeom prst="rect">
            <a:avLst/>
          </a:prstGeom>
          <a:solidFill>
            <a:srgbClr val="404040">
              <a:lumMod val="50000"/>
            </a:srgbClr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 Reserve trade deal (6.25% discount) at targeted TOFT </a:t>
            </a: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ationwide)</a:t>
            </a:r>
            <a:endParaRPr kumimoji="0" lang="en-UK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2CD8CE2-C8D8-46F7-8E00-3DD823CFFE66}"/>
              </a:ext>
            </a:extLst>
          </p:cNvPr>
          <p:cNvSpPr txBox="1"/>
          <p:nvPr/>
        </p:nvSpPr>
        <p:spPr>
          <a:xfrm>
            <a:off x="4230560" y="3881697"/>
            <a:ext cx="2859689" cy="466717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Credential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1,500, Mechanics: (1). Consumer: 5+1, play game to win Vespa Scooter; (2). Post a picture to win a prize; (3). Customer: 10ctns of TC to win a lucky draw)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5981A40B-0B28-46DD-BF75-2375F89983D6}"/>
              </a:ext>
            </a:extLst>
          </p:cNvPr>
          <p:cNvSpPr txBox="1"/>
          <p:nvPr/>
        </p:nvSpPr>
        <p:spPr>
          <a:xfrm>
            <a:off x="2132324" y="3893758"/>
            <a:ext cx="2032366" cy="448048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CN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360, Mechanics: (5+1), consumers to play a game and get the red pocket from the digital CNY tree.)</a:t>
            </a:r>
            <a:endParaRPr kumimoji="0" lang="en-UK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7F31A3C-2CB5-4839-ABA4-93969A0B55E6}"/>
              </a:ext>
            </a:extLst>
          </p:cNvPr>
          <p:cNvSpPr txBox="1"/>
          <p:nvPr/>
        </p:nvSpPr>
        <p:spPr>
          <a:xfrm>
            <a:off x="2122720" y="4354715"/>
            <a:ext cx="7176095" cy="373374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 Reserve Consignment (MONT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100, Mechanics: (1). No return for ABC Reserve Consignment 2mos, get 1FOC ABC Reserve; (2). Off 50% on 1st purchase after gratis for 1xABC Reserve)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E5CDE81-F65C-4167-BA66-A660913498A6}"/>
              </a:ext>
            </a:extLst>
          </p:cNvPr>
          <p:cNvSpPr txBox="1"/>
          <p:nvPr/>
        </p:nvSpPr>
        <p:spPr>
          <a:xfrm>
            <a:off x="2122719" y="4744898"/>
            <a:ext cx="7176095" cy="242693"/>
          </a:xfrm>
          <a:prstGeom prst="rect">
            <a:avLst/>
          </a:prstGeom>
          <a:solidFill>
            <a:srgbClr val="000000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 Reserve Sampling Activation (MONT)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240, BA offer sampling and push sales)</a:t>
            </a:r>
            <a:endParaRPr kumimoji="0" lang="en-UK" sz="7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7DAB8D8-6413-47FF-ABEE-E05DD92E1B4B}"/>
              </a:ext>
            </a:extLst>
          </p:cNvPr>
          <p:cNvSpPr txBox="1"/>
          <p:nvPr/>
        </p:nvSpPr>
        <p:spPr>
          <a:xfrm>
            <a:off x="2122719" y="5273005"/>
            <a:ext cx="10042814" cy="242693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agships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Total #100, #75 recruited in ‘22, recruit +25 more in ‘23)</a:t>
            </a:r>
            <a:endParaRPr kumimoji="0" lang="en-UK" sz="7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EB37603-CE57-4820-B0A1-BD32408FBD2C}"/>
              </a:ext>
            </a:extLst>
          </p:cNvPr>
          <p:cNvSpPr txBox="1"/>
          <p:nvPr/>
        </p:nvSpPr>
        <p:spPr>
          <a:xfrm>
            <a:off x="2122719" y="5543309"/>
            <a:ext cx="10042814" cy="242693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bassies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Total #2,500, #2,100 recruited in ‘22, recruit +400 more in ‘23)</a:t>
            </a:r>
            <a:endParaRPr kumimoji="0" lang="en-UK" sz="7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CD15B24-69FB-4113-A798-C650C0597A6F}"/>
              </a:ext>
            </a:extLst>
          </p:cNvPr>
          <p:cNvSpPr txBox="1"/>
          <p:nvPr/>
        </p:nvSpPr>
        <p:spPr>
          <a:xfrm>
            <a:off x="2137405" y="5012036"/>
            <a:ext cx="10025444" cy="242693"/>
          </a:xfrm>
          <a:prstGeom prst="rect">
            <a:avLst/>
          </a:prstGeom>
          <a:solidFill>
            <a:srgbClr val="404040">
              <a:lumMod val="50000"/>
            </a:srgbClr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 Reserve trade deal (6.25% discount) at targeted TONT outlets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ationwide)</a:t>
            </a:r>
            <a:endParaRPr kumimoji="0" lang="en-UK" sz="7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75732467-7CBD-4A89-8316-AF55695F50D7}"/>
              </a:ext>
            </a:extLst>
          </p:cNvPr>
          <p:cNvSpPr txBox="1"/>
          <p:nvPr/>
        </p:nvSpPr>
        <p:spPr>
          <a:xfrm>
            <a:off x="4587407" y="6080850"/>
            <a:ext cx="7578616" cy="240759"/>
          </a:xfrm>
          <a:prstGeom prst="rect">
            <a:avLst/>
          </a:prstGeom>
          <a:solidFill>
            <a:srgbClr val="00642D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dding &amp; Function Scheme 2023</a:t>
            </a:r>
            <a:endParaRPr kumimoji="0" lang="en-UK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23AC777B-7EA3-428D-A93D-59716AD3DC1F}"/>
              </a:ext>
            </a:extLst>
          </p:cNvPr>
          <p:cNvSpPr/>
          <p:nvPr/>
        </p:nvSpPr>
        <p:spPr>
          <a:xfrm>
            <a:off x="9472082" y="430788"/>
            <a:ext cx="1145805" cy="2986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FF7D00">
                    <a:lumMod val="50000"/>
                  </a:srgbClr>
                </a:solidFill>
                <a:effectLst/>
                <a:uLnTx/>
                <a:uFillTx/>
                <a:latin typeface="HEINEKEN Core" panose="02000503050000020004" pitchFamily="2" charset="0"/>
                <a:ea typeface="+mn-ea"/>
                <a:cs typeface="+mn-cs"/>
              </a:rPr>
              <a:t> Khmer NY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57038D4-4F59-44B6-BDB9-8E88245883AD}"/>
              </a:ext>
            </a:extLst>
          </p:cNvPr>
          <p:cNvSpPr/>
          <p:nvPr/>
        </p:nvSpPr>
        <p:spPr>
          <a:xfrm>
            <a:off x="3435684" y="430788"/>
            <a:ext cx="1145805" cy="2986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FF7D00">
                    <a:lumMod val="75000"/>
                  </a:srgbClr>
                </a:solidFill>
                <a:effectLst/>
                <a:uLnTx/>
                <a:uFillTx/>
                <a:latin typeface="HEINEKEN Core" panose="02000503050000020004" pitchFamily="2" charset="0"/>
                <a:ea typeface="+mn-ea"/>
                <a:cs typeface="+mn-cs"/>
              </a:rPr>
              <a:t>CNY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2E7E78B2-D5B8-4D28-8DE4-CDBA84D1DEDD}"/>
              </a:ext>
            </a:extLst>
          </p:cNvPr>
          <p:cNvSpPr txBox="1"/>
          <p:nvPr/>
        </p:nvSpPr>
        <p:spPr>
          <a:xfrm>
            <a:off x="5611792" y="1525007"/>
            <a:ext cx="5134526" cy="373374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Festive Pack Consumer Prom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$13 CSP; 40KHL uplift in 2 months, with focused activation at 6500 BH2.0 outlets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8C8C5CB-A30D-430D-87C1-6FD5821C4E6E}"/>
              </a:ext>
            </a:extLst>
          </p:cNvPr>
          <p:cNvSpPr txBox="1"/>
          <p:nvPr/>
        </p:nvSpPr>
        <p:spPr>
          <a:xfrm>
            <a:off x="9040911" y="3834350"/>
            <a:ext cx="2770900" cy="354705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KN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0 MONT outlets; WOW consumer exp. with vouchers in typhoon machine)</a:t>
            </a: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CBE286F-8FB8-4CF7-B128-1C38B70613E7}"/>
              </a:ext>
            </a:extLst>
          </p:cNvPr>
          <p:cNvSpPr txBox="1"/>
          <p:nvPr/>
        </p:nvSpPr>
        <p:spPr>
          <a:xfrm>
            <a:off x="9397753" y="4197513"/>
            <a:ext cx="2770900" cy="354705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Crystal Always Col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500 outlets; Tiger Crystal Leading touch points amplification)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E96F663-0FB8-4A46-BDFF-5218000E8780}"/>
              </a:ext>
            </a:extLst>
          </p:cNvPr>
          <p:cNvGrpSpPr/>
          <p:nvPr/>
        </p:nvGrpSpPr>
        <p:grpSpPr>
          <a:xfrm>
            <a:off x="577179" y="3933687"/>
            <a:ext cx="1483727" cy="1901789"/>
            <a:chOff x="751029" y="3207143"/>
            <a:chExt cx="1293726" cy="1534356"/>
          </a:xfrm>
        </p:grpSpPr>
        <p:sp>
          <p:nvSpPr>
            <p:cNvPr id="75" name="Rectangle: Rounded Corners 181">
              <a:extLst>
                <a:ext uri="{FF2B5EF4-FFF2-40B4-BE49-F238E27FC236}">
                  <a16:creationId xmlns:a16="http://schemas.microsoft.com/office/drawing/2014/main" id="{AB1A1E99-B9A2-45C2-BC19-7A4B1B081E8B}"/>
                </a:ext>
              </a:extLst>
            </p:cNvPr>
            <p:cNvSpPr/>
            <p:nvPr/>
          </p:nvSpPr>
          <p:spPr bwMode="auto">
            <a:xfrm>
              <a:off x="760210" y="3207143"/>
              <a:ext cx="1280160" cy="204331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>
              <a:solidFill>
                <a:srgbClr val="002060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INEKEN Core"/>
                  <a:ea typeface="+mn-ea"/>
                  <a:cs typeface="+mn-cs"/>
                </a:rPr>
                <a:t>Tiger | Tiger &amp; Tiger Crystal 5+1 Long Term Contracts</a:t>
              </a:r>
            </a:p>
          </p:txBody>
        </p:sp>
        <p:sp>
          <p:nvSpPr>
            <p:cNvPr id="76" name="Rectangle: Rounded Corners 181">
              <a:extLst>
                <a:ext uri="{FF2B5EF4-FFF2-40B4-BE49-F238E27FC236}">
                  <a16:creationId xmlns:a16="http://schemas.microsoft.com/office/drawing/2014/main" id="{AF6786CB-0229-4DC1-8F3D-D814AD0E4664}"/>
                </a:ext>
              </a:extLst>
            </p:cNvPr>
            <p:cNvSpPr/>
            <p:nvPr/>
          </p:nvSpPr>
          <p:spPr bwMode="auto">
            <a:xfrm>
              <a:off x="760210" y="3439733"/>
              <a:ext cx="1280160" cy="204331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>
              <a:solidFill>
                <a:srgbClr val="002060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INEKEN Core"/>
                  <a:ea typeface="+mn-ea"/>
                  <a:cs typeface="+mn-cs"/>
                </a:rPr>
                <a:t>TIGER | Tiger Football</a:t>
              </a:r>
            </a:p>
          </p:txBody>
        </p:sp>
        <p:sp>
          <p:nvSpPr>
            <p:cNvPr id="77" name="Rounded Rectangle 188">
              <a:extLst>
                <a:ext uri="{FF2B5EF4-FFF2-40B4-BE49-F238E27FC236}">
                  <a16:creationId xmlns:a16="http://schemas.microsoft.com/office/drawing/2014/main" id="{308E0D13-A94F-4230-B290-72BBB9E2EEFC}"/>
                </a:ext>
              </a:extLst>
            </p:cNvPr>
            <p:cNvSpPr/>
            <p:nvPr/>
          </p:nvSpPr>
          <p:spPr>
            <a:xfrm>
              <a:off x="751029" y="4492434"/>
              <a:ext cx="1280160" cy="249065"/>
            </a:xfrm>
            <a:prstGeom prst="roundRect">
              <a:avLst>
                <a:gd name="adj" fmla="val 0"/>
              </a:avLst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HEINEKEN Core"/>
                  <a:ea typeface="+mn-ea"/>
                  <a:cs typeface="+mn-cs"/>
                  <a:sym typeface="Lucida Sans"/>
                </a:rPr>
                <a:t>ABC | Reserve Sampling Activation</a:t>
              </a:r>
            </a:p>
          </p:txBody>
        </p:sp>
        <p:sp>
          <p:nvSpPr>
            <p:cNvPr id="78" name="Rounded Rectangle 188">
              <a:extLst>
                <a:ext uri="{FF2B5EF4-FFF2-40B4-BE49-F238E27FC236}">
                  <a16:creationId xmlns:a16="http://schemas.microsoft.com/office/drawing/2014/main" id="{8CF1A1B1-AB5E-44D8-B1DB-D77F6CB5A850}"/>
                </a:ext>
              </a:extLst>
            </p:cNvPr>
            <p:cNvSpPr/>
            <p:nvPr/>
          </p:nvSpPr>
          <p:spPr>
            <a:xfrm>
              <a:off x="764595" y="3668830"/>
              <a:ext cx="1280160" cy="249065"/>
            </a:xfrm>
            <a:prstGeom prst="roundRect">
              <a:avLst>
                <a:gd name="adj" fmla="val 0"/>
              </a:avLst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HEINEKEN Core"/>
                  <a:ea typeface="+mn-ea"/>
                  <a:cs typeface="+mn-cs"/>
                  <a:sym typeface="Lucida Sans"/>
                </a:rPr>
                <a:t>ABC | Reserve Customer Loyalty Program</a:t>
              </a:r>
            </a:p>
          </p:txBody>
        </p:sp>
        <p:sp>
          <p:nvSpPr>
            <p:cNvPr id="79" name="Rounded Rectangle 188">
              <a:extLst>
                <a:ext uri="{FF2B5EF4-FFF2-40B4-BE49-F238E27FC236}">
                  <a16:creationId xmlns:a16="http://schemas.microsoft.com/office/drawing/2014/main" id="{8DB241FE-8D4F-4780-8F1C-583A4E95C461}"/>
                </a:ext>
              </a:extLst>
            </p:cNvPr>
            <p:cNvSpPr/>
            <p:nvPr/>
          </p:nvSpPr>
          <p:spPr>
            <a:xfrm>
              <a:off x="756848" y="3942757"/>
              <a:ext cx="1280160" cy="249064"/>
            </a:xfrm>
            <a:prstGeom prst="roundRect">
              <a:avLst>
                <a:gd name="adj" fmla="val 0"/>
              </a:avLst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HEINEKEN Core"/>
                  <a:ea typeface="+mn-ea"/>
                  <a:cs typeface="+mn-cs"/>
                  <a:sym typeface="Lucida Sans"/>
                </a:rPr>
                <a:t>ABC | Reserve Consignment Program</a:t>
              </a:r>
            </a:p>
          </p:txBody>
        </p:sp>
        <p:sp>
          <p:nvSpPr>
            <p:cNvPr id="80" name="Rounded Rectangle 188">
              <a:extLst>
                <a:ext uri="{FF2B5EF4-FFF2-40B4-BE49-F238E27FC236}">
                  <a16:creationId xmlns:a16="http://schemas.microsoft.com/office/drawing/2014/main" id="{00133C37-10E4-4354-9D8A-5BF802E60098}"/>
                </a:ext>
              </a:extLst>
            </p:cNvPr>
            <p:cNvSpPr/>
            <p:nvPr/>
          </p:nvSpPr>
          <p:spPr>
            <a:xfrm>
              <a:off x="753541" y="4214855"/>
              <a:ext cx="1280160" cy="249065"/>
            </a:xfrm>
            <a:prstGeom prst="roundRect">
              <a:avLst>
                <a:gd name="adj" fmla="val 0"/>
              </a:avLst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HEINEKEN Core"/>
                  <a:ea typeface="+mn-ea"/>
                  <a:cs typeface="+mn-cs"/>
                  <a:sym typeface="Lucida Sans"/>
                </a:rPr>
                <a:t>ABC | Reserve Mystery Shopper</a:t>
              </a: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7F2C82FB-745A-4B33-A063-0A4128F9244F}"/>
              </a:ext>
            </a:extLst>
          </p:cNvPr>
          <p:cNvSpPr txBox="1"/>
          <p:nvPr/>
        </p:nvSpPr>
        <p:spPr>
          <a:xfrm>
            <a:off x="527099" y="733971"/>
            <a:ext cx="1445367" cy="317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 ‘22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5D2411A3-4D4D-4AA4-B6A2-235523E9453F}"/>
              </a:ext>
            </a:extLst>
          </p:cNvPr>
          <p:cNvSpPr/>
          <p:nvPr/>
        </p:nvSpPr>
        <p:spPr>
          <a:xfrm>
            <a:off x="614468" y="665704"/>
            <a:ext cx="1368695" cy="336398"/>
          </a:xfrm>
          <a:prstGeom prst="roundRect">
            <a:avLst/>
          </a:prstGeom>
          <a:noFill/>
          <a:ln w="63500" cap="flat" cmpd="sng" algn="ctr">
            <a:solidFill>
              <a:srgbClr val="0E542B"/>
            </a:solidFill>
            <a:prstDash val="solid"/>
            <a:miter lim="800000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ectangle: Rounded Corners 181">
            <a:extLst>
              <a:ext uri="{FF2B5EF4-FFF2-40B4-BE49-F238E27FC236}">
                <a16:creationId xmlns:a16="http://schemas.microsoft.com/office/drawing/2014/main" id="{68A3ABDE-7299-48B4-97C0-A937AB9E86FB}"/>
              </a:ext>
            </a:extLst>
          </p:cNvPr>
          <p:cNvSpPr/>
          <p:nvPr/>
        </p:nvSpPr>
        <p:spPr bwMode="auto">
          <a:xfrm>
            <a:off x="554236" y="1134074"/>
            <a:ext cx="1468168" cy="279464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Premium Brand Promotio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(Buy Premium 100ctn get 1 Parasol)</a:t>
            </a:r>
          </a:p>
        </p:txBody>
      </p:sp>
      <p:sp>
        <p:nvSpPr>
          <p:cNvPr id="72" name="Rectangle: Rounded Corners 181">
            <a:extLst>
              <a:ext uri="{FF2B5EF4-FFF2-40B4-BE49-F238E27FC236}">
                <a16:creationId xmlns:a16="http://schemas.microsoft.com/office/drawing/2014/main" id="{653DF6FC-2EA9-4E1F-873C-D75098B9D480}"/>
              </a:ext>
            </a:extLst>
          </p:cNvPr>
          <p:cNvSpPr/>
          <p:nvPr/>
        </p:nvSpPr>
        <p:spPr bwMode="auto">
          <a:xfrm>
            <a:off x="554236" y="1431607"/>
            <a:ext cx="1468168" cy="27481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nchor White Aging Clearance 10 months and above </a:t>
            </a: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(50% off)</a:t>
            </a:r>
          </a:p>
        </p:txBody>
      </p:sp>
      <p:sp>
        <p:nvSpPr>
          <p:cNvPr id="73" name="Rectangle: Rounded Corners 181">
            <a:extLst>
              <a:ext uri="{FF2B5EF4-FFF2-40B4-BE49-F238E27FC236}">
                <a16:creationId xmlns:a16="http://schemas.microsoft.com/office/drawing/2014/main" id="{5572C8E6-02EB-4222-B631-2C721531EFC5}"/>
              </a:ext>
            </a:extLst>
          </p:cNvPr>
          <p:cNvSpPr/>
          <p:nvPr/>
        </p:nvSpPr>
        <p:spPr bwMode="auto">
          <a:xfrm>
            <a:off x="565927" y="1736859"/>
            <a:ext cx="1468168" cy="295280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nchor White Aging Clearance 8&amp;9 months and above </a:t>
            </a: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(9$/</a:t>
            </a:r>
            <a:r>
              <a:rPr kumimoji="0" lang="en-US" sz="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ctn</a:t>
            </a: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)</a:t>
            </a:r>
          </a:p>
        </p:txBody>
      </p:sp>
      <p:sp>
        <p:nvSpPr>
          <p:cNvPr id="74" name="Rectangle: Rounded Corners 181">
            <a:extLst>
              <a:ext uri="{FF2B5EF4-FFF2-40B4-BE49-F238E27FC236}">
                <a16:creationId xmlns:a16="http://schemas.microsoft.com/office/drawing/2014/main" id="{32B7CBF6-9C0A-42AB-8D44-65FB1E7BD886}"/>
              </a:ext>
            </a:extLst>
          </p:cNvPr>
          <p:cNvSpPr/>
          <p:nvPr/>
        </p:nvSpPr>
        <p:spPr bwMode="auto">
          <a:xfrm>
            <a:off x="578255" y="6129315"/>
            <a:ext cx="1468168" cy="341181"/>
          </a:xfrm>
          <a:prstGeom prst="roundRect">
            <a:avLst>
              <a:gd name="adj" fmla="val 0"/>
            </a:avLst>
          </a:prstGeom>
          <a:solidFill>
            <a:srgbClr val="00642D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dding &amp; Func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eme 2022</a:t>
            </a:r>
          </a:p>
        </p:txBody>
      </p:sp>
      <p:sp>
        <p:nvSpPr>
          <p:cNvPr id="65" name="Rectangle: Rounded Corners 181">
            <a:extLst>
              <a:ext uri="{FF2B5EF4-FFF2-40B4-BE49-F238E27FC236}">
                <a16:creationId xmlns:a16="http://schemas.microsoft.com/office/drawing/2014/main" id="{9E3D99E1-C391-41BF-9656-DEB9A55FCB0E}"/>
              </a:ext>
            </a:extLst>
          </p:cNvPr>
          <p:cNvSpPr/>
          <p:nvPr/>
        </p:nvSpPr>
        <p:spPr bwMode="auto">
          <a:xfrm>
            <a:off x="554236" y="2064670"/>
            <a:ext cx="1468168" cy="278669"/>
          </a:xfrm>
          <a:prstGeom prst="roundRect">
            <a:avLst>
              <a:gd name="adj" fmla="val 0"/>
            </a:avLst>
          </a:prstGeom>
          <a:solidFill>
            <a:schemeClr val="accent2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BC Reserve List in Urban Off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(6.25%)</a:t>
            </a:r>
          </a:p>
        </p:txBody>
      </p:sp>
      <p:sp>
        <p:nvSpPr>
          <p:cNvPr id="62" name="Rectangle: Rounded Corners 181">
            <a:extLst>
              <a:ext uri="{FF2B5EF4-FFF2-40B4-BE49-F238E27FC236}">
                <a16:creationId xmlns:a16="http://schemas.microsoft.com/office/drawing/2014/main" id="{E652CAB7-BF8C-4C3D-9C28-51EDA16438BC}"/>
              </a:ext>
            </a:extLst>
          </p:cNvPr>
          <p:cNvSpPr/>
          <p:nvPr/>
        </p:nvSpPr>
        <p:spPr bwMode="auto">
          <a:xfrm>
            <a:off x="1258626" y="3421884"/>
            <a:ext cx="3002905" cy="196148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nchor Smooth NCP &amp; ABC Tactical Promo </a:t>
            </a:r>
            <a:r>
              <a:rPr kumimoji="0" lang="en-US" sz="7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(#1,629 ,DS&amp;WS, Nationwide)</a:t>
            </a:r>
          </a:p>
        </p:txBody>
      </p:sp>
      <p:sp>
        <p:nvSpPr>
          <p:cNvPr id="81" name="Rectangle: Rounded Corners 181">
            <a:extLst>
              <a:ext uri="{FF2B5EF4-FFF2-40B4-BE49-F238E27FC236}">
                <a16:creationId xmlns:a16="http://schemas.microsoft.com/office/drawing/2014/main" id="{21AB3F2F-C9A9-456C-9BE0-DFB92B8C491C}"/>
              </a:ext>
            </a:extLst>
          </p:cNvPr>
          <p:cNvSpPr/>
          <p:nvPr/>
        </p:nvSpPr>
        <p:spPr bwMode="auto">
          <a:xfrm>
            <a:off x="1492220" y="6651536"/>
            <a:ext cx="640019" cy="2324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nchor Smooth Wedding $9.2</a:t>
            </a:r>
          </a:p>
        </p:txBody>
      </p:sp>
      <p:sp>
        <p:nvSpPr>
          <p:cNvPr id="121" name="Rectangle: Rounded Corners 181">
            <a:extLst>
              <a:ext uri="{FF2B5EF4-FFF2-40B4-BE49-F238E27FC236}">
                <a16:creationId xmlns:a16="http://schemas.microsoft.com/office/drawing/2014/main" id="{46FEAB94-2B57-476E-9C7D-123A9059C587}"/>
              </a:ext>
            </a:extLst>
          </p:cNvPr>
          <p:cNvSpPr/>
          <p:nvPr/>
        </p:nvSpPr>
        <p:spPr bwMode="auto">
          <a:xfrm>
            <a:off x="3196681" y="6372256"/>
            <a:ext cx="1433750" cy="227623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nchor Smooth Wedding $9.2</a:t>
            </a:r>
          </a:p>
        </p:txBody>
      </p:sp>
      <p:sp>
        <p:nvSpPr>
          <p:cNvPr id="122" name="Rectangle: Rounded Corners 181">
            <a:extLst>
              <a:ext uri="{FF2B5EF4-FFF2-40B4-BE49-F238E27FC236}">
                <a16:creationId xmlns:a16="http://schemas.microsoft.com/office/drawing/2014/main" id="{33BF758D-EE56-437C-A04B-107B355F1B33}"/>
              </a:ext>
            </a:extLst>
          </p:cNvPr>
          <p:cNvSpPr/>
          <p:nvPr/>
        </p:nvSpPr>
        <p:spPr bwMode="auto">
          <a:xfrm>
            <a:off x="3196681" y="6611167"/>
            <a:ext cx="8989687" cy="172562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nchor White Wedding $9.2</a:t>
            </a:r>
          </a:p>
        </p:txBody>
      </p:sp>
      <p:sp>
        <p:nvSpPr>
          <p:cNvPr id="123" name="Rectangle: Rounded Corners 181">
            <a:extLst>
              <a:ext uri="{FF2B5EF4-FFF2-40B4-BE49-F238E27FC236}">
                <a16:creationId xmlns:a16="http://schemas.microsoft.com/office/drawing/2014/main" id="{2BC3BA83-C8E3-44B8-91FD-37FEDDBB17DB}"/>
              </a:ext>
            </a:extLst>
          </p:cNvPr>
          <p:cNvSpPr/>
          <p:nvPr/>
        </p:nvSpPr>
        <p:spPr bwMode="auto">
          <a:xfrm>
            <a:off x="584859" y="6473244"/>
            <a:ext cx="1468168" cy="200055"/>
          </a:xfrm>
          <a:prstGeom prst="roundRect">
            <a:avLst>
              <a:gd name="adj" fmla="val 0"/>
            </a:avLst>
          </a:prstGeom>
          <a:solidFill>
            <a:srgbClr val="00642D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P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A8F1AFC-6E3B-4615-853C-28905E4DC3DC}"/>
              </a:ext>
            </a:extLst>
          </p:cNvPr>
          <p:cNvSpPr txBox="1"/>
          <p:nvPr/>
        </p:nvSpPr>
        <p:spPr>
          <a:xfrm>
            <a:off x="1745523" y="2390743"/>
            <a:ext cx="1648419" cy="276999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Credential Consumer x Cooler Bag in </a:t>
            </a:r>
            <a:r>
              <a: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FT</a:t>
            </a: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</a:t>
            </a:r>
            <a:r>
              <a:rPr lang="en-US" sz="400" kern="0" dirty="0">
                <a:solidFill>
                  <a:srgbClr val="FFFFFF"/>
                </a:solidFill>
                <a:latin typeface="Arial"/>
              </a:rPr>
              <a:t>2</a:t>
            </a: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echanics: </a:t>
            </a:r>
            <a:r>
              <a:rPr lang="en-US" sz="400" kern="0" dirty="0">
                <a:solidFill>
                  <a:srgbClr val="FFFFFF"/>
                </a:solidFill>
                <a:latin typeface="Arial"/>
              </a:rPr>
              <a:t>2 </a:t>
            </a:r>
            <a:r>
              <a:rPr lang="en-US" sz="400" kern="0" dirty="0" err="1">
                <a:solidFill>
                  <a:srgbClr val="FFFFFF"/>
                </a:solidFill>
                <a:latin typeface="Arial"/>
              </a:rPr>
              <a:t>ctns</a:t>
            </a:r>
            <a:r>
              <a:rPr lang="en-US" sz="400" kern="0" dirty="0">
                <a:solidFill>
                  <a:srgbClr val="FFFFFF"/>
                </a:solidFill>
                <a:latin typeface="Arial"/>
              </a:rPr>
              <a:t> get Cooler bag)</a:t>
            </a:r>
            <a:endParaRPr lang="en-US" sz="7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48EDF82-8D17-4799-98A1-89F179839C19}"/>
              </a:ext>
            </a:extLst>
          </p:cNvPr>
          <p:cNvSpPr txBox="1"/>
          <p:nvPr/>
        </p:nvSpPr>
        <p:spPr>
          <a:xfrm>
            <a:off x="3857167" y="2390771"/>
            <a:ext cx="2643175" cy="261610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Credential Consumer x Cooler in MOFT </a:t>
            </a: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</a:t>
            </a:r>
            <a:r>
              <a:rPr lang="en-US" sz="500" kern="0" dirty="0">
                <a:solidFill>
                  <a:srgbClr val="FFFFFF"/>
                </a:solidFill>
                <a:latin typeface="Arial"/>
              </a:rPr>
              <a:t>2</a:t>
            </a: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echanics: </a:t>
            </a:r>
            <a:r>
              <a:rPr lang="en-US" sz="500" kern="0" dirty="0">
                <a:solidFill>
                  <a:srgbClr val="FFFFFF"/>
                </a:solidFill>
                <a:latin typeface="Arial"/>
              </a:rPr>
              <a:t>2 </a:t>
            </a:r>
            <a:r>
              <a:rPr lang="en-US" sz="500" kern="0" dirty="0" err="1">
                <a:solidFill>
                  <a:srgbClr val="FFFFFF"/>
                </a:solidFill>
                <a:latin typeface="Arial"/>
              </a:rPr>
              <a:t>ctns</a:t>
            </a:r>
            <a:r>
              <a:rPr lang="en-US" sz="500" kern="0" dirty="0">
                <a:solidFill>
                  <a:srgbClr val="FFFFFF"/>
                </a:solidFill>
                <a:latin typeface="Arial"/>
              </a:rPr>
              <a:t> get Cooler bag)</a:t>
            </a:r>
            <a:endParaRPr lang="en-US" sz="6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F821D721-D8B6-4735-8BAA-EFAF65E92C5C}"/>
              </a:ext>
            </a:extLst>
          </p:cNvPr>
          <p:cNvSpPr txBox="1"/>
          <p:nvPr/>
        </p:nvSpPr>
        <p:spPr>
          <a:xfrm>
            <a:off x="2095294" y="2670987"/>
            <a:ext cx="4856340" cy="200055"/>
          </a:xfrm>
          <a:prstGeom prst="rect">
            <a:avLst/>
          </a:prstGeom>
          <a:solidFill>
            <a:srgbClr val="262262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ger Credential Consumer w Voucher in MOFT </a:t>
            </a: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6x S Liquor, Mechanics: </a:t>
            </a:r>
            <a:r>
              <a:rPr lang="en-US" sz="500" kern="0" dirty="0">
                <a:solidFill>
                  <a:srgbClr val="FFFFFF"/>
                </a:solidFill>
                <a:latin typeface="Arial"/>
              </a:rPr>
              <a:t>1 </a:t>
            </a:r>
            <a:r>
              <a:rPr lang="en-US" sz="500" kern="0" dirty="0" err="1">
                <a:solidFill>
                  <a:srgbClr val="FFFFFF"/>
                </a:solidFill>
                <a:latin typeface="Arial"/>
              </a:rPr>
              <a:t>ctn</a:t>
            </a:r>
            <a:r>
              <a:rPr lang="en-US" sz="500" kern="0" dirty="0">
                <a:solidFill>
                  <a:srgbClr val="FFFFFF"/>
                </a:solidFill>
                <a:latin typeface="Arial"/>
              </a:rPr>
              <a:t> get 1$ voucher)</a:t>
            </a:r>
            <a:endParaRPr lang="en-US" sz="7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7DAA6CD-C277-4434-8D7D-8134B4FF56AE}"/>
              </a:ext>
            </a:extLst>
          </p:cNvPr>
          <p:cNvSpPr txBox="1"/>
          <p:nvPr/>
        </p:nvSpPr>
        <p:spPr>
          <a:xfrm>
            <a:off x="2919809" y="3069936"/>
            <a:ext cx="1636120" cy="338554"/>
          </a:xfrm>
          <a:prstGeom prst="rect">
            <a:avLst/>
          </a:prstGeom>
          <a:solidFill>
            <a:srgbClr val="00642D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nese New Year with Premium Brand in MOFT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#2x Makro, Mec</a:t>
            </a:r>
            <a:r>
              <a:rPr lang="en-US" sz="400" kern="0" dirty="0">
                <a:solidFill>
                  <a:srgbClr val="FFFFFF"/>
                </a:solidFill>
                <a:latin typeface="Arial"/>
              </a:rPr>
              <a:t>ha</a:t>
            </a:r>
            <a:r>
              <a:rPr kumimoji="0" lang="en-US" sz="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cs: </a:t>
            </a:r>
            <a:r>
              <a:rPr lang="en-US" sz="400" kern="0" dirty="0">
                <a:solidFill>
                  <a:srgbClr val="FFFFFF"/>
                </a:solidFill>
                <a:latin typeface="Arial"/>
              </a:rPr>
              <a:t>1 </a:t>
            </a:r>
            <a:r>
              <a:rPr lang="en-US" sz="400" kern="0" dirty="0" err="1">
                <a:solidFill>
                  <a:srgbClr val="FFFFFF"/>
                </a:solidFill>
                <a:latin typeface="Arial"/>
              </a:rPr>
              <a:t>ctn</a:t>
            </a:r>
            <a:r>
              <a:rPr lang="en-US" sz="400" kern="0" dirty="0">
                <a:solidFill>
                  <a:srgbClr val="FFFFFF"/>
                </a:solidFill>
                <a:latin typeface="Arial"/>
              </a:rPr>
              <a:t> get 1 Ang Pao from Chinese Tree)</a:t>
            </a:r>
            <a:endParaRPr lang="en-UK" sz="6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8" name="Rectangle: Rounded Corners 181">
            <a:extLst>
              <a:ext uri="{FF2B5EF4-FFF2-40B4-BE49-F238E27FC236}">
                <a16:creationId xmlns:a16="http://schemas.microsoft.com/office/drawing/2014/main" id="{A5335274-40B9-40D9-BF76-5F1E4F37161A}"/>
              </a:ext>
            </a:extLst>
          </p:cNvPr>
          <p:cNvSpPr/>
          <p:nvPr/>
        </p:nvSpPr>
        <p:spPr bwMode="auto">
          <a:xfrm>
            <a:off x="2761038" y="3644284"/>
            <a:ext cx="1963000" cy="204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Anchor Tactical Promo </a:t>
            </a:r>
            <a:r>
              <a:rPr kumimoji="0" lang="en-US" sz="5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(#2x Makro, Mechanics: 2x AB get 1 box of glass (4pcs); 1x AW get 2 packs of cashew nu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)</a:t>
            </a:r>
            <a:endParaRPr kumimoji="0" lang="en-US" sz="7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INEKEN Core"/>
              <a:ea typeface="+mn-ea"/>
              <a:cs typeface="+mn-cs"/>
            </a:endParaRPr>
          </a:p>
        </p:txBody>
      </p:sp>
      <p:sp>
        <p:nvSpPr>
          <p:cNvPr id="130" name="Rounded Rectangle 188">
            <a:extLst>
              <a:ext uri="{FF2B5EF4-FFF2-40B4-BE49-F238E27FC236}">
                <a16:creationId xmlns:a16="http://schemas.microsoft.com/office/drawing/2014/main" id="{C3E65F65-3E9F-4E45-B18C-C080D85B9C42}"/>
              </a:ext>
            </a:extLst>
          </p:cNvPr>
          <p:cNvSpPr/>
          <p:nvPr/>
        </p:nvSpPr>
        <p:spPr>
          <a:xfrm>
            <a:off x="9370451" y="493241"/>
            <a:ext cx="1293882" cy="6245578"/>
          </a:xfrm>
          <a:prstGeom prst="roundRect">
            <a:avLst/>
          </a:prstGeom>
          <a:noFill/>
          <a:ln w="25400" cap="flat" cmpd="sng" algn="ctr">
            <a:solidFill>
              <a:schemeClr val="accent5">
                <a:lumMod val="20000"/>
                <a:lumOff val="80000"/>
                <a:alpha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131" name="Rounded Rectangle 188">
            <a:extLst>
              <a:ext uri="{FF2B5EF4-FFF2-40B4-BE49-F238E27FC236}">
                <a16:creationId xmlns:a16="http://schemas.microsoft.com/office/drawing/2014/main" id="{ED746624-584B-4AC6-9A7B-7B8C161D36E3}"/>
              </a:ext>
            </a:extLst>
          </p:cNvPr>
          <p:cNvSpPr/>
          <p:nvPr/>
        </p:nvSpPr>
        <p:spPr>
          <a:xfrm>
            <a:off x="3665538" y="493240"/>
            <a:ext cx="644355" cy="6300931"/>
          </a:xfrm>
          <a:prstGeom prst="roundRect">
            <a:avLst/>
          </a:prstGeom>
          <a:noFill/>
          <a:ln w="25400" cap="flat" cmpd="sng" algn="ctr">
            <a:solidFill>
              <a:schemeClr val="accent5">
                <a:lumMod val="20000"/>
                <a:lumOff val="80000"/>
                <a:alpha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LID4096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Lucida Sans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9EF16F7A-BC57-4EFF-BF42-6153F47C176F}"/>
              </a:ext>
            </a:extLst>
          </p:cNvPr>
          <p:cNvSpPr txBox="1"/>
          <p:nvPr/>
        </p:nvSpPr>
        <p:spPr>
          <a:xfrm>
            <a:off x="2126261" y="5791405"/>
            <a:ext cx="10042814" cy="200055"/>
          </a:xfrm>
          <a:prstGeom prst="rect">
            <a:avLst/>
          </a:prstGeom>
          <a:solidFill>
            <a:srgbClr val="00642D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0" dirty="0">
                <a:solidFill>
                  <a:srgbClr val="FFFFFF"/>
                </a:solidFill>
                <a:latin typeface="Arial"/>
              </a:rPr>
              <a:t>Long Term 5+1</a:t>
            </a: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Total #</a:t>
            </a:r>
            <a:r>
              <a:rPr lang="en-US" sz="700" kern="0" dirty="0">
                <a:solidFill>
                  <a:srgbClr val="FFFFFF"/>
                </a:solidFill>
                <a:latin typeface="Arial"/>
              </a:rPr>
              <a:t>3,586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#2804 recruited in ‘22, recruit +</a:t>
            </a:r>
            <a:r>
              <a:rPr lang="en-US" sz="700" kern="0" dirty="0">
                <a:solidFill>
                  <a:srgbClr val="FFFFFF"/>
                </a:solidFill>
                <a:latin typeface="Arial"/>
              </a:rPr>
              <a:t>782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in ‘23)</a:t>
            </a:r>
            <a:endParaRPr kumimoji="0" lang="en-UK" sz="7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608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68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GXfH9etPYCzeTEUkQI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1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65A38"/>
      </a:accent1>
      <a:accent2>
        <a:srgbClr val="7AB800"/>
      </a:accent2>
      <a:accent3>
        <a:srgbClr val="FF7900"/>
      </a:accent3>
      <a:accent4>
        <a:srgbClr val="C4C4C4"/>
      </a:accent4>
      <a:accent5>
        <a:srgbClr val="ED1C24"/>
      </a:accent5>
      <a:accent6>
        <a:srgbClr val="7F7F7F"/>
      </a:accent6>
      <a:hlink>
        <a:srgbClr val="0000FF"/>
      </a:hlink>
      <a:folHlink>
        <a:srgbClr val="800080"/>
      </a:folHlink>
    </a:clrScheme>
    <a:fontScheme name="Custom 1">
      <a:majorFont>
        <a:latin typeface="HEINEKEN Core"/>
        <a:ea typeface=""/>
        <a:cs typeface=""/>
      </a:majorFont>
      <a:minorFont>
        <a:latin typeface="HEINEKEN Core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65A38"/>
        </a:accent1>
        <a:accent2>
          <a:srgbClr val="7AB800"/>
        </a:accent2>
        <a:accent3>
          <a:srgbClr val="FF7900"/>
        </a:accent3>
        <a:accent4>
          <a:srgbClr val="C4C4C4"/>
        </a:accent4>
        <a:accent5>
          <a:srgbClr val="ED1C24"/>
        </a:accent5>
        <a:accent6>
          <a:srgbClr val="7F7F7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6920_OFF_v1.potx" id="{0FDA11E1-98AD-4651-A7BC-1CF617DB2428}" vid="{BE9584E0-2EFB-42AC-BB30-2EF099E2588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2</TotalTime>
  <Words>690</Words>
  <Application>Microsoft Office PowerPoint</Application>
  <PresentationFormat>Widescreen</PresentationFormat>
  <Paragraphs>7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raphik</vt:lpstr>
      <vt:lpstr>HEINEKEN Core</vt:lpstr>
      <vt:lpstr>Segoe UI</vt:lpstr>
      <vt:lpstr>Trebuchet MS</vt:lpstr>
      <vt:lpstr>Wingdings</vt:lpstr>
      <vt:lpstr>12_White</vt:lpstr>
      <vt:lpstr>think-cell Slide</vt:lpstr>
      <vt:lpstr>A. Cycle Execution + Tactical Plan Upd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. Cycle Execution + Tactical Plan Update</dc:title>
  <dc:creator>Sonita Prak</dc:creator>
  <cp:lastModifiedBy>Votana Srey</cp:lastModifiedBy>
  <cp:revision>38</cp:revision>
  <dcterms:created xsi:type="dcterms:W3CDTF">2023-01-26T02:08:49Z</dcterms:created>
  <dcterms:modified xsi:type="dcterms:W3CDTF">2023-01-30T14:15:16Z</dcterms:modified>
</cp:coreProperties>
</file>